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tags/tag18.xml" ContentType="application/vnd.openxmlformats-officedocument.presentationml.tags+xml"/>
  <Override PartName="/ppt/notesSlides/notesSlide20.xml" ContentType="application/vnd.openxmlformats-officedocument.presentationml.notesSlide+xml"/>
  <Override PartName="/ppt/tags/tag19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6"/>
  </p:notesMasterIdLst>
  <p:sldIdLst>
    <p:sldId id="269" r:id="rId5"/>
    <p:sldId id="297" r:id="rId6"/>
    <p:sldId id="266" r:id="rId7"/>
    <p:sldId id="429" r:id="rId8"/>
    <p:sldId id="430" r:id="rId9"/>
    <p:sldId id="415" r:id="rId10"/>
    <p:sldId id="432" r:id="rId11"/>
    <p:sldId id="433" r:id="rId12"/>
    <p:sldId id="434" r:id="rId13"/>
    <p:sldId id="442" r:id="rId14"/>
    <p:sldId id="435" r:id="rId15"/>
    <p:sldId id="419" r:id="rId16"/>
    <p:sldId id="436" r:id="rId17"/>
    <p:sldId id="437" r:id="rId18"/>
    <p:sldId id="408" r:id="rId19"/>
    <p:sldId id="443" r:id="rId20"/>
    <p:sldId id="439" r:id="rId21"/>
    <p:sldId id="440" r:id="rId22"/>
    <p:sldId id="444" r:id="rId23"/>
    <p:sldId id="441" r:id="rId24"/>
    <p:sldId id="445" r:id="rId25"/>
  </p:sldIdLst>
  <p:sldSz cx="9144000" cy="6858000" type="screen4x3"/>
  <p:notesSz cx="6735763" cy="9866313"/>
  <p:custDataLst>
    <p:tags r:id="rId2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0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FFFFFF"/>
    <a:srgbClr val="007864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58" autoAdjust="0"/>
    <p:restoredTop sz="80618" autoAdjust="0"/>
  </p:normalViewPr>
  <p:slideViewPr>
    <p:cSldViewPr snapToGrid="0" snapToObjects="1">
      <p:cViewPr varScale="1">
        <p:scale>
          <a:sx n="50" d="100"/>
          <a:sy n="50" d="100"/>
        </p:scale>
        <p:origin x="1860" y="2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69D732-B678-EBB2-9023-4237E5EA69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3D790D-62D1-E846-7264-5CADE11A62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indent="92075"/>
            <a:endParaRPr lang="en-US" altLang="ja-JP" dirty="0">
              <a:latin typeface="Meiryo UI"/>
              <a:ea typeface="Meiryo UI"/>
            </a:endParaRPr>
          </a:p>
        </p:txBody>
      </p:sp>
    </p:spTree>
    <p:extLst>
      <p:ext uri="{BB962C8B-B14F-4D97-AF65-F5344CB8AC3E}">
        <p14:creationId xmlns:p14="http://schemas.microsoft.com/office/powerpoint/2010/main" val="3720131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6833C55-E556-7C77-96F5-E46699BDDB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37986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F558625-1A70-B23B-7EB9-3892E55EBD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B615FAC-688D-FCEB-E3F2-B00E86B4F9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150497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D6625B5-867D-D6E3-593F-C7EEA61355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66213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8635869-16A8-CFC8-5915-A29CF72B9B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57AC31-CA4C-E0D7-A944-76D3102299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698361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38D5E63-02F4-C407-BAEE-CE8A35BB12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147933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036CF58-BBF9-BCED-C661-3F436FC990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888796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24F5A2F-3D40-D0FD-FAE2-F65F22BA66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91623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3609E8A-210B-AED3-7AE9-38663D231E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D48565D-C43D-D149-1384-7F585F4238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783641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8B0CCB-0C93-CC10-E2AB-CF71DDB951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786050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ACA9AA2-6227-03DD-1BFB-4A1B606C55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FE78052-012C-17EA-8A6D-74E3F43665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90026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3D5BAB5-7BAC-529A-C44C-C687BD85AF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101010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F42E161-97AA-343D-1E13-81BC7851A4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5031168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6BCE92-D3C9-9370-7AF3-516A04FFA5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885639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761A056-2D80-25AD-5DD2-DF9C4D65623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846813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913D33F3-0BAD-DB3B-C6AE-E8ECC5F887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09829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8" userDrawn="1">
          <p15:clr>
            <a:srgbClr val="FBAE40"/>
          </p15:clr>
        </p15:guide>
        <p15:guide id="24" pos="4353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  <p15:guide id="28" pos="4130" userDrawn="1">
          <p15:clr>
            <a:srgbClr val="FBAE40"/>
          </p15:clr>
        </p15:guide>
        <p15:guide id="29" pos="1630" userDrawn="1">
          <p15:clr>
            <a:srgbClr val="FBAE40"/>
          </p15:clr>
        </p15:guide>
        <p15:guide id="30" pos="3899" userDrawn="1">
          <p15:clr>
            <a:srgbClr val="FBAE40"/>
          </p15:clr>
        </p15:guide>
        <p15:guide id="31" pos="40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10/2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28.png"/><Relationship Id="rId5" Type="http://schemas.openxmlformats.org/officeDocument/2006/relationships/image" Target="../media/image17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8.png"/><Relationship Id="rId11" Type="http://schemas.openxmlformats.org/officeDocument/2006/relationships/image" Target="../media/image30.png"/><Relationship Id="rId5" Type="http://schemas.openxmlformats.org/officeDocument/2006/relationships/image" Target="../media/image17.png"/><Relationship Id="rId10" Type="http://schemas.openxmlformats.org/officeDocument/2006/relationships/image" Target="../media/image7.jpg"/><Relationship Id="rId4" Type="http://schemas.openxmlformats.org/officeDocument/2006/relationships/image" Target="../media/image29.png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34.jpg"/><Relationship Id="rId5" Type="http://schemas.openxmlformats.org/officeDocument/2006/relationships/image" Target="../media/image9.png"/><Relationship Id="rId10" Type="http://schemas.openxmlformats.org/officeDocument/2006/relationships/image" Target="../media/image33.jpeg"/><Relationship Id="rId4" Type="http://schemas.openxmlformats.org/officeDocument/2006/relationships/image" Target="../media/image8.png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7.jpe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7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41.png"/><Relationship Id="rId11" Type="http://schemas.openxmlformats.org/officeDocument/2006/relationships/image" Target="../media/image42.png"/><Relationship Id="rId5" Type="http://schemas.openxmlformats.org/officeDocument/2006/relationships/image" Target="../media/image40.png"/><Relationship Id="rId10" Type="http://schemas.openxmlformats.org/officeDocument/2006/relationships/image" Target="../media/image9.png"/><Relationship Id="rId4" Type="http://schemas.openxmlformats.org/officeDocument/2006/relationships/image" Target="../media/image39.png"/><Relationship Id="rId9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8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43.png"/><Relationship Id="rId9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4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4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11" Type="http://schemas.openxmlformats.org/officeDocument/2006/relationships/image" Target="../media/image47.png"/><Relationship Id="rId5" Type="http://schemas.openxmlformats.org/officeDocument/2006/relationships/image" Target="../media/image1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7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4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7.jpg"/><Relationship Id="rId11" Type="http://schemas.openxmlformats.org/officeDocument/2006/relationships/oleObject" Target="../embeddings/oleObject2.bin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11" Type="http://schemas.openxmlformats.org/officeDocument/2006/relationships/image" Target="../media/image7.jpg"/><Relationship Id="rId5" Type="http://schemas.openxmlformats.org/officeDocument/2006/relationships/image" Target="../media/image16.png"/><Relationship Id="rId10" Type="http://schemas.openxmlformats.org/officeDocument/2006/relationships/image" Target="../media/image1.emf"/><Relationship Id="rId4" Type="http://schemas.openxmlformats.org/officeDocument/2006/relationships/image" Target="../media/image15.png"/><Relationship Id="rId9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1.png"/><Relationship Id="rId5" Type="http://schemas.openxmlformats.org/officeDocument/2006/relationships/image" Target="../media/image18.png"/><Relationship Id="rId10" Type="http://schemas.openxmlformats.org/officeDocument/2006/relationships/image" Target="../media/image20.png"/><Relationship Id="rId4" Type="http://schemas.openxmlformats.org/officeDocument/2006/relationships/image" Target="../media/image17.png"/><Relationship Id="rId9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9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30220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電話のかけ方・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カメラの使い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90006" y="220542"/>
              <a:ext cx="102143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iPhone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61A59DC-6578-4E96-9D97-1AE244CCB7CC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58FE83A-551C-66C2-5066-CF63CB3021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91783" y="2699310"/>
            <a:ext cx="1945197" cy="3427648"/>
          </a:xfrm>
          <a:prstGeom prst="rect">
            <a:avLst/>
          </a:prstGeom>
        </p:spPr>
      </p:pic>
      <p:pic>
        <p:nvPicPr>
          <p:cNvPr id="5" name="図 4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ED9E30CF-298C-787F-9601-2BF9AF07DC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7661" y="2690595"/>
            <a:ext cx="1987779" cy="3453461"/>
          </a:xfrm>
          <a:prstGeom prst="rect">
            <a:avLst/>
          </a:prstGeom>
        </p:spPr>
      </p:pic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0B7EB01B-3467-1876-9ACB-8B8AC2DABBCB}"/>
              </a:ext>
            </a:extLst>
          </p:cNvPr>
          <p:cNvGrpSpPr/>
          <p:nvPr/>
        </p:nvGrpSpPr>
        <p:grpSpPr>
          <a:xfrm>
            <a:off x="6343440" y="2716122"/>
            <a:ext cx="1934390" cy="3427934"/>
            <a:chOff x="8994046" y="2554463"/>
            <a:chExt cx="1934390" cy="3427934"/>
          </a:xfrm>
        </p:grpSpPr>
        <p:pic>
          <p:nvPicPr>
            <p:cNvPr id="9" name="図 8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1868E504-D215-36D8-2F9B-9768285B5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94046" y="2554463"/>
              <a:ext cx="1934390" cy="342793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BE3DD369-A2A4-BD0B-B560-3B64356A6FFD}"/>
                </a:ext>
              </a:extLst>
            </p:cNvPr>
            <p:cNvSpPr/>
            <p:nvPr/>
          </p:nvSpPr>
          <p:spPr>
            <a:xfrm>
              <a:off x="9108504" y="2554463"/>
              <a:ext cx="248981" cy="12412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438F321-80FB-191A-C556-22F8408A4A14}"/>
              </a:ext>
            </a:extLst>
          </p:cNvPr>
          <p:cNvSpPr/>
          <p:nvPr/>
        </p:nvSpPr>
        <p:spPr>
          <a:xfrm>
            <a:off x="3828272" y="2719406"/>
            <a:ext cx="215288" cy="1073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23597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/>
            </a:br>
            <a:r>
              <a:rPr lang="ja-JP" altLang="en-US"/>
              <a:t>新しく連絡先を登録する</a:t>
            </a:r>
            <a:endParaRPr lang="ja-JP" altLang="en-US" dirty="0"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F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732014" y="577943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右上にあ</a:t>
            </a:r>
            <a:r>
              <a:rPr lang="ja-JP" altLang="en-US" sz="1600" b="1" spc="-5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る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＋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661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7139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>
            <a:spLocks/>
          </p:cNvSpPr>
          <p:nvPr/>
        </p:nvSpPr>
        <p:spPr>
          <a:xfrm>
            <a:off x="6343440" y="3191229"/>
            <a:ext cx="1901548" cy="2682296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/>
          <p:cNvSpPr>
            <a:spLocks/>
          </p:cNvSpPr>
          <p:nvPr/>
        </p:nvSpPr>
        <p:spPr>
          <a:xfrm>
            <a:off x="7922468" y="2928318"/>
            <a:ext cx="360620" cy="22564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2" name="正方形/長方形 71"/>
          <p:cNvSpPr>
            <a:spLocks noChangeAspect="1"/>
          </p:cNvSpPr>
          <p:nvPr/>
        </p:nvSpPr>
        <p:spPr>
          <a:xfrm>
            <a:off x="5361637" y="2816190"/>
            <a:ext cx="243821" cy="2438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F533A07E-90BA-4FEB-B8CA-E106CCA90FD0}"/>
              </a:ext>
            </a:extLst>
          </p:cNvPr>
          <p:cNvSpPr txBox="1"/>
          <p:nvPr/>
        </p:nvSpPr>
        <p:spPr>
          <a:xfrm>
            <a:off x="6669211" y="3446738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grpSp>
        <p:nvGrpSpPr>
          <p:cNvPr id="87" name="図形グループ 86"/>
          <p:cNvGrpSpPr/>
          <p:nvPr/>
        </p:nvGrpSpPr>
        <p:grpSpPr>
          <a:xfrm>
            <a:off x="7674657" y="2696045"/>
            <a:ext cx="296586" cy="293005"/>
            <a:chOff x="4232441" y="3995693"/>
            <a:chExt cx="296586" cy="293005"/>
          </a:xfrm>
        </p:grpSpPr>
        <p:sp>
          <p:nvSpPr>
            <p:cNvPr id="88" name="円/楕円 8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9" name="フリーフォーム 8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0" name="図形グループ 89"/>
          <p:cNvGrpSpPr/>
          <p:nvPr/>
        </p:nvGrpSpPr>
        <p:grpSpPr>
          <a:xfrm>
            <a:off x="5035970" y="2597497"/>
            <a:ext cx="296586" cy="293005"/>
            <a:chOff x="3546641" y="3995693"/>
            <a:chExt cx="296586" cy="293005"/>
          </a:xfrm>
        </p:grpSpPr>
        <p:sp>
          <p:nvSpPr>
            <p:cNvPr id="91" name="円/楕円 9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2" name="フリーフォーム 9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1565879" y="5623682"/>
            <a:ext cx="296587" cy="293005"/>
            <a:chOff x="2897417" y="3995693"/>
            <a:chExt cx="296587" cy="293005"/>
          </a:xfrm>
        </p:grpSpPr>
        <p:sp>
          <p:nvSpPr>
            <p:cNvPr id="94" name="円/楕円 9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テキスト ボックス 9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A825921-D258-BBAA-E895-C90868E31658}"/>
              </a:ext>
            </a:extLst>
          </p:cNvPr>
          <p:cNvSpPr/>
          <p:nvPr/>
        </p:nvSpPr>
        <p:spPr>
          <a:xfrm>
            <a:off x="979141" y="2804271"/>
            <a:ext cx="1940136" cy="818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1BE85E22-1695-2D9E-CDEB-D4D3FC50E2BC}"/>
              </a:ext>
            </a:extLst>
          </p:cNvPr>
          <p:cNvSpPr txBox="1"/>
          <p:nvPr/>
        </p:nvSpPr>
        <p:spPr>
          <a:xfrm>
            <a:off x="6316206" y="1925138"/>
            <a:ext cx="2016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C3209501-D429-B094-4415-06857F00FC27}"/>
              </a:ext>
            </a:extLst>
          </p:cNvPr>
          <p:cNvSpPr/>
          <p:nvPr/>
        </p:nvSpPr>
        <p:spPr>
          <a:xfrm>
            <a:off x="313530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39CB41A1-2914-3797-2CE4-62B8018DA8DF}"/>
              </a:ext>
            </a:extLst>
          </p:cNvPr>
          <p:cNvSpPr/>
          <p:nvPr/>
        </p:nvSpPr>
        <p:spPr>
          <a:xfrm>
            <a:off x="5724128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629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9417D26-85AC-142C-8449-4CE9C3635E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2400" y="3316291"/>
            <a:ext cx="1571121" cy="2937192"/>
          </a:xfrm>
          <a:prstGeom prst="rect">
            <a:avLst/>
          </a:prstGeom>
        </p:spPr>
      </p:pic>
      <p:pic>
        <p:nvPicPr>
          <p:cNvPr id="2" name="図 1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9B0F655B-B94F-1806-6141-1CC20B0BD0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43844" y="3330411"/>
            <a:ext cx="1515979" cy="2901431"/>
          </a:xfrm>
          <a:prstGeom prst="rect">
            <a:avLst/>
          </a:prstGeom>
        </p:spPr>
      </p:pic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13778E4-DCE5-E5D6-82F5-08F6922597E8}"/>
              </a:ext>
            </a:extLst>
          </p:cNvPr>
          <p:cNvGrpSpPr/>
          <p:nvPr/>
        </p:nvGrpSpPr>
        <p:grpSpPr>
          <a:xfrm>
            <a:off x="762324" y="3104704"/>
            <a:ext cx="1655874" cy="3240692"/>
            <a:chOff x="6948264" y="3086152"/>
            <a:chExt cx="1515397" cy="3060000"/>
          </a:xfrm>
        </p:grpSpPr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E8BE9F93-BC80-499B-D19C-E4B8F56B5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48264" y="3086152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E95B8E0-5CB7-C9F0-CAB5-444BDEC51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034561" y="3423249"/>
              <a:ext cx="1329668" cy="236503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2603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着信履歴に残った通話先を使って連絡先に登録す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G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履歴」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登録したい人の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にあるⓘマークを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新規連絡先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作成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827004" y="1937819"/>
            <a:ext cx="201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名前など登録したい内容を入力した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完了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90968" y="192877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6" name="正方形/長方形 75"/>
          <p:cNvSpPr/>
          <p:nvPr/>
        </p:nvSpPr>
        <p:spPr>
          <a:xfrm>
            <a:off x="4972327" y="5229200"/>
            <a:ext cx="1548000" cy="22525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6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lang="ja-JP" altLang="en-US" dirty="0"/>
              <a:t>着信履歴に残った通話先を登録する</a:t>
            </a:r>
          </a:p>
        </p:txBody>
      </p:sp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2486613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7" name="正方形/長方形 86"/>
          <p:cNvSpPr>
            <a:spLocks noChangeAspect="1"/>
          </p:cNvSpPr>
          <p:nvPr/>
        </p:nvSpPr>
        <p:spPr>
          <a:xfrm>
            <a:off x="1080887" y="5628000"/>
            <a:ext cx="320760" cy="320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" name="グループ化 4" descr="「電話」の「着信履歴」画面の一覧から登録したい人の右側にある「i」マークをタップしている画像">
            <a:extLst>
              <a:ext uri="{FF2B5EF4-FFF2-40B4-BE49-F238E27FC236}">
                <a16:creationId xmlns:a16="http://schemas.microsoft.com/office/drawing/2014/main" id="{F241FB42-FAB2-4E75-BF97-3BBD4F3AF2F7}"/>
              </a:ext>
            </a:extLst>
          </p:cNvPr>
          <p:cNvGrpSpPr/>
          <p:nvPr/>
        </p:nvGrpSpPr>
        <p:grpSpPr>
          <a:xfrm>
            <a:off x="4069442" y="4313555"/>
            <a:ext cx="915704" cy="1182957"/>
            <a:chOff x="4171484" y="4213205"/>
            <a:chExt cx="999256" cy="1182957"/>
          </a:xfrm>
        </p:grpSpPr>
        <p:sp>
          <p:nvSpPr>
            <p:cNvPr id="107" name="正方形/長方形 106"/>
            <p:cNvSpPr>
              <a:spLocks noChangeAspect="1"/>
            </p:cNvSpPr>
            <p:nvPr/>
          </p:nvSpPr>
          <p:spPr>
            <a:xfrm>
              <a:off x="4322473" y="4365050"/>
              <a:ext cx="360000" cy="360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57" name="図 56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4467920" y="4546151"/>
              <a:ext cx="473301" cy="540000"/>
            </a:xfrm>
            <a:prstGeom prst="rect">
              <a:avLst/>
            </a:prstGeom>
          </p:spPr>
        </p:pic>
        <p:grpSp>
          <p:nvGrpSpPr>
            <p:cNvPr id="66" name="図形グループ 65"/>
            <p:cNvGrpSpPr/>
            <p:nvPr/>
          </p:nvGrpSpPr>
          <p:grpSpPr>
            <a:xfrm>
              <a:off x="4829731" y="5021650"/>
              <a:ext cx="341009" cy="374512"/>
              <a:chOff x="5102352" y="3913483"/>
              <a:chExt cx="341009" cy="374512"/>
            </a:xfrm>
          </p:grpSpPr>
          <p:sp>
            <p:nvSpPr>
              <p:cNvPr id="69" name="円/楕円 68"/>
              <p:cNvSpPr/>
              <p:nvPr/>
            </p:nvSpPr>
            <p:spPr>
              <a:xfrm>
                <a:off x="510235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5" name="フリーフォーム 74"/>
              <p:cNvSpPr/>
              <p:nvPr/>
            </p:nvSpPr>
            <p:spPr>
              <a:xfrm>
                <a:off x="5146775" y="391348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4224" y="102715"/>
                    </a:moveTo>
                    <a:lnTo>
                      <a:pt x="144224" y="158060"/>
                    </a:lnTo>
                    <a:lnTo>
                      <a:pt x="100924" y="158060"/>
                    </a:lnTo>
                    <a:close/>
                    <a:moveTo>
                      <a:pt x="149595" y="46392"/>
                    </a:moveTo>
                    <a:lnTo>
                      <a:pt x="62996" y="153991"/>
                    </a:lnTo>
                    <a:lnTo>
                      <a:pt x="62996" y="190616"/>
                    </a:lnTo>
                    <a:lnTo>
                      <a:pt x="144224" y="190616"/>
                    </a:lnTo>
                    <a:lnTo>
                      <a:pt x="144224" y="241078"/>
                    </a:lnTo>
                    <a:lnTo>
                      <a:pt x="187686" y="241078"/>
                    </a:lnTo>
                    <a:lnTo>
                      <a:pt x="187686" y="190616"/>
                    </a:lnTo>
                    <a:lnTo>
                      <a:pt x="212592" y="190616"/>
                    </a:lnTo>
                    <a:lnTo>
                      <a:pt x="212592" y="158060"/>
                    </a:lnTo>
                    <a:lnTo>
                      <a:pt x="187686" y="158060"/>
                    </a:lnTo>
                    <a:lnTo>
                      <a:pt x="187686" y="46392"/>
                    </a:ln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78" name="図形グループ 77"/>
            <p:cNvGrpSpPr/>
            <p:nvPr/>
          </p:nvGrpSpPr>
          <p:grpSpPr>
            <a:xfrm>
              <a:off x="4171484" y="4213205"/>
              <a:ext cx="296586" cy="293005"/>
              <a:chOff x="4232441" y="3995693"/>
              <a:chExt cx="296586" cy="293005"/>
            </a:xfrm>
          </p:grpSpPr>
          <p:sp>
            <p:nvSpPr>
              <p:cNvPr id="81" name="円/楕円 80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4" name="フリーフォーム 83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9" name="図形グループ 88"/>
          <p:cNvGrpSpPr/>
          <p:nvPr/>
        </p:nvGrpSpPr>
        <p:grpSpPr>
          <a:xfrm>
            <a:off x="851233" y="5373216"/>
            <a:ext cx="296587" cy="293005"/>
            <a:chOff x="2897417" y="3995693"/>
            <a:chExt cx="296587" cy="293005"/>
          </a:xfrm>
        </p:grpSpPr>
        <p:sp>
          <p:nvSpPr>
            <p:cNvPr id="90" name="円/楕円 8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テキスト ボックス 9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DA1AD900-6240-A37D-5B62-20D1C089D2E3}"/>
              </a:ext>
            </a:extLst>
          </p:cNvPr>
          <p:cNvGrpSpPr/>
          <p:nvPr/>
        </p:nvGrpSpPr>
        <p:grpSpPr>
          <a:xfrm>
            <a:off x="7054180" y="3323144"/>
            <a:ext cx="1548000" cy="2914168"/>
            <a:chOff x="7020272" y="3323144"/>
            <a:chExt cx="1548000" cy="2914168"/>
          </a:xfrm>
        </p:grpSpPr>
        <p:pic>
          <p:nvPicPr>
            <p:cNvPr id="65" name="図 64" descr="「新規連絡先」登録画面の画像">
              <a:extLst>
                <a:ext uri="{FF2B5EF4-FFF2-40B4-BE49-F238E27FC236}">
                  <a16:creationId xmlns:a16="http://schemas.microsoft.com/office/drawing/2014/main" id="{B7199DB2-6360-4EA4-AECD-68D71A5C9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20272" y="3323144"/>
              <a:ext cx="1548000" cy="2914168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43EC2B61-915F-CE0C-1B7D-0CBD22EF3C1B}"/>
                </a:ext>
              </a:extLst>
            </p:cNvPr>
            <p:cNvSpPr/>
            <p:nvPr/>
          </p:nvSpPr>
          <p:spPr>
            <a:xfrm>
              <a:off x="7116095" y="3330411"/>
              <a:ext cx="234000" cy="8579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99" name="正方形/長方形 98"/>
          <p:cNvSpPr>
            <a:spLocks/>
          </p:cNvSpPr>
          <p:nvPr/>
        </p:nvSpPr>
        <p:spPr>
          <a:xfrm>
            <a:off x="7035283" y="4002738"/>
            <a:ext cx="1548000" cy="108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2" name="正方形/長方形 121"/>
          <p:cNvSpPr>
            <a:spLocks noChangeAspect="1"/>
          </p:cNvSpPr>
          <p:nvPr/>
        </p:nvSpPr>
        <p:spPr>
          <a:xfrm>
            <a:off x="8298537" y="3369524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8" name="図形グループ 57"/>
          <p:cNvGrpSpPr/>
          <p:nvPr/>
        </p:nvGrpSpPr>
        <p:grpSpPr>
          <a:xfrm>
            <a:off x="8152642" y="3220859"/>
            <a:ext cx="296586" cy="293005"/>
            <a:chOff x="587836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B588B247-E4C4-F2EF-3C53-618EF0FB9286}"/>
              </a:ext>
            </a:extLst>
          </p:cNvPr>
          <p:cNvSpPr>
            <a:spLocks noChangeAspect="1"/>
          </p:cNvSpPr>
          <p:nvPr/>
        </p:nvSpPr>
        <p:spPr>
          <a:xfrm>
            <a:off x="3236458" y="5941365"/>
            <a:ext cx="329899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4" name="図形グループ 75">
            <a:extLst>
              <a:ext uri="{FF2B5EF4-FFF2-40B4-BE49-F238E27FC236}">
                <a16:creationId xmlns:a16="http://schemas.microsoft.com/office/drawing/2014/main" id="{27371D19-41C7-AD19-2388-227A7168D9CA}"/>
              </a:ext>
            </a:extLst>
          </p:cNvPr>
          <p:cNvGrpSpPr/>
          <p:nvPr/>
        </p:nvGrpSpPr>
        <p:grpSpPr>
          <a:xfrm>
            <a:off x="3051278" y="5728283"/>
            <a:ext cx="296586" cy="293005"/>
            <a:chOff x="3546641" y="3995693"/>
            <a:chExt cx="296586" cy="293005"/>
          </a:xfrm>
        </p:grpSpPr>
        <p:sp>
          <p:nvSpPr>
            <p:cNvPr id="35" name="円/楕円 78">
              <a:extLst>
                <a:ext uri="{FF2B5EF4-FFF2-40B4-BE49-F238E27FC236}">
                  <a16:creationId xmlns:a16="http://schemas.microsoft.com/office/drawing/2014/main" id="{083BB2B9-1E08-EE2E-865A-E133B72BC3A1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79">
              <a:extLst>
                <a:ext uri="{FF2B5EF4-FFF2-40B4-BE49-F238E27FC236}">
                  <a16:creationId xmlns:a16="http://schemas.microsoft.com/office/drawing/2014/main" id="{DE86C208-9BA5-9132-2710-40AB94F93066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BD0CC473-5E66-CE2A-4292-4C966F979C4C}"/>
              </a:ext>
            </a:extLst>
          </p:cNvPr>
          <p:cNvSpPr txBox="1"/>
          <p:nvPr/>
        </p:nvSpPr>
        <p:spPr>
          <a:xfrm>
            <a:off x="7207151" y="4077693"/>
            <a:ext cx="16358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  <a:endParaRPr lang="en-US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l"/>
            <a:r>
              <a:rPr lang="ja-JP" altLang="en-US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400" b="1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9" name="矢印: 右 38">
            <a:extLst>
              <a:ext uri="{FF2B5EF4-FFF2-40B4-BE49-F238E27FC236}">
                <a16:creationId xmlns:a16="http://schemas.microsoft.com/office/drawing/2014/main" id="{1B5E6604-F370-6522-23A8-502563099EE1}"/>
              </a:ext>
            </a:extLst>
          </p:cNvPr>
          <p:cNvSpPr/>
          <p:nvPr/>
        </p:nvSpPr>
        <p:spPr>
          <a:xfrm>
            <a:off x="2483768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0" name="矢印: 右 39">
            <a:extLst>
              <a:ext uri="{FF2B5EF4-FFF2-40B4-BE49-F238E27FC236}">
                <a16:creationId xmlns:a16="http://schemas.microsoft.com/office/drawing/2014/main" id="{C31465DC-F41A-8F8E-04E2-31A718E8A4C4}"/>
              </a:ext>
            </a:extLst>
          </p:cNvPr>
          <p:cNvSpPr/>
          <p:nvPr/>
        </p:nvSpPr>
        <p:spPr>
          <a:xfrm>
            <a:off x="4572000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1" name="矢印: 右 40">
            <a:extLst>
              <a:ext uri="{FF2B5EF4-FFF2-40B4-BE49-F238E27FC236}">
                <a16:creationId xmlns:a16="http://schemas.microsoft.com/office/drawing/2014/main" id="{9E6951AD-5165-65B2-B9A4-9BFC26768F68}"/>
              </a:ext>
            </a:extLst>
          </p:cNvPr>
          <p:cNvSpPr/>
          <p:nvPr/>
        </p:nvSpPr>
        <p:spPr>
          <a:xfrm>
            <a:off x="6588224" y="3984855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282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36392C2D-37AD-CC54-189C-5BEBDA803517}"/>
              </a:ext>
            </a:extLst>
          </p:cNvPr>
          <p:cNvGrpSpPr/>
          <p:nvPr/>
        </p:nvGrpSpPr>
        <p:grpSpPr>
          <a:xfrm>
            <a:off x="2987824" y="2697302"/>
            <a:ext cx="1857910" cy="3468002"/>
            <a:chOff x="963093" y="2708920"/>
            <a:chExt cx="1683367" cy="3456000"/>
          </a:xfrm>
        </p:grpSpPr>
        <p:grpSp>
          <p:nvGrpSpPr>
            <p:cNvPr id="35" name="グループ化 13">
              <a:extLst>
                <a:ext uri="{FF2B5EF4-FFF2-40B4-BE49-F238E27FC236}">
                  <a16:creationId xmlns:a16="http://schemas.microsoft.com/office/drawing/2014/main" id="{A59693BF-878E-FA81-0A72-D920DC196DA0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C15AB5C2-456A-6B7F-2A00-7DAA48F23F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53D183A2-4FEC-04A7-73CA-849E3237A448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BB1197FB-1415-8B9C-FC11-97D9B74D701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7" name="図 3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F26A01F9-6045-8258-63F6-6A0E6CCCC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9" name="図 38">
                <a:extLst>
                  <a:ext uri="{FF2B5EF4-FFF2-40B4-BE49-F238E27FC236}">
                    <a16:creationId xmlns:a16="http://schemas.microsoft.com/office/drawing/2014/main" id="{1AB10383-AFB9-22E3-F9CA-36709FE8D7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pic>
        <p:nvPicPr>
          <p:cNvPr id="59" name="図 58" descr="ズームされて撮影した写真の画像">
            <a:extLst>
              <a:ext uri="{FF2B5EF4-FFF2-40B4-BE49-F238E27FC236}">
                <a16:creationId xmlns:a16="http://schemas.microsoft.com/office/drawing/2014/main" id="{EA8CD051-7F78-40E0-B6A2-148AB95462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64136" y="2366143"/>
            <a:ext cx="1307355" cy="1646606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を撮ろ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528" y="2422741"/>
            <a:ext cx="2880000" cy="3742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ーク</a:t>
            </a:r>
            <a:r>
              <a:rPr lang="ja-JP" altLang="en-US" sz="1600" b="1" spc="-1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spc="-1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2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の指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広げるとズーム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す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6882" y="1499858"/>
            <a:ext cx="8280000" cy="115826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en-US" altLang="ja-JP" sz="2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2000" dirty="0"/>
              <a:t>カメラ」機能では、自分を撮影できる前面カメラと背面カメラで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写真の撮影ができます。</a:t>
            </a:r>
            <a:endParaRPr lang="en-US" altLang="ja-JP" sz="2000" dirty="0"/>
          </a:p>
          <a:p>
            <a:pPr>
              <a:lnSpc>
                <a:spcPct val="50000"/>
              </a:lnSpc>
            </a:pPr>
            <a:r>
              <a:rPr lang="ja-JP" altLang="en-US" sz="2000" dirty="0"/>
              <a:t>撮影した写真・動画などは、「写真」の中に保存されます。</a:t>
            </a:r>
          </a:p>
        </p:txBody>
      </p:sp>
      <p:pic>
        <p:nvPicPr>
          <p:cNvPr id="34" name="図 33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33765" y="2710031"/>
            <a:ext cx="1840670" cy="3420000"/>
          </a:xfrm>
          <a:prstGeom prst="rect">
            <a:avLst/>
          </a:prstGeom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6037560" y="5697472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AA713D09-6229-42C4-A5C8-0491EB742D7C}"/>
              </a:ext>
            </a:extLst>
          </p:cNvPr>
          <p:cNvSpPr txBox="1"/>
          <p:nvPr/>
        </p:nvSpPr>
        <p:spPr>
          <a:xfrm>
            <a:off x="6160456" y="6130800"/>
            <a:ext cx="1415772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endParaRPr lang="ja-JP" altLang="en-US" sz="12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141580" y="4231022"/>
            <a:ext cx="296586" cy="300847"/>
            <a:chOff x="9726070" y="5852342"/>
            <a:chExt cx="296586" cy="300847"/>
          </a:xfrm>
        </p:grpSpPr>
        <p:sp>
          <p:nvSpPr>
            <p:cNvPr id="41" name="円/楕円 40"/>
            <p:cNvSpPr/>
            <p:nvPr/>
          </p:nvSpPr>
          <p:spPr>
            <a:xfrm>
              <a:off x="9731056" y="5852342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9726070" y="5860184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5930537" y="5992666"/>
            <a:ext cx="296586" cy="293005"/>
            <a:chOff x="42324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フリーフォーム 6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7" name="図形グループ 66"/>
          <p:cNvGrpSpPr/>
          <p:nvPr/>
        </p:nvGrpSpPr>
        <p:grpSpPr>
          <a:xfrm>
            <a:off x="4682350" y="3190524"/>
            <a:ext cx="296587" cy="293005"/>
            <a:chOff x="2897417" y="3995693"/>
            <a:chExt cx="296587" cy="293005"/>
          </a:xfrm>
        </p:grpSpPr>
        <p:sp>
          <p:nvSpPr>
            <p:cNvPr id="68" name="円/楕円 6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テキスト ボックス 6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4271442" y="3476004"/>
            <a:ext cx="432000" cy="432000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D1DED428-442D-083C-55AD-04A02CEDF8F1}"/>
              </a:ext>
            </a:extLst>
          </p:cNvPr>
          <p:cNvCxnSpPr>
            <a:cxnSpLocks/>
          </p:cNvCxnSpPr>
          <p:nvPr/>
        </p:nvCxnSpPr>
        <p:spPr>
          <a:xfrm flipH="1">
            <a:off x="6093379" y="2366143"/>
            <a:ext cx="1370757" cy="1434087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C44C8FF4-D890-AC2B-F4BE-071DEACC7826}"/>
              </a:ext>
            </a:extLst>
          </p:cNvPr>
          <p:cNvCxnSpPr>
            <a:cxnSpLocks/>
          </p:cNvCxnSpPr>
          <p:nvPr/>
        </p:nvCxnSpPr>
        <p:spPr>
          <a:xfrm flipH="1">
            <a:off x="6602312" y="4012749"/>
            <a:ext cx="905678" cy="42436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6CD50AF-A35F-8B53-AD56-9BF168043464}"/>
              </a:ext>
            </a:extLst>
          </p:cNvPr>
          <p:cNvSpPr/>
          <p:nvPr/>
        </p:nvSpPr>
        <p:spPr>
          <a:xfrm>
            <a:off x="6061888" y="3799022"/>
            <a:ext cx="548449" cy="63809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102" y="4310872"/>
            <a:ext cx="1106068" cy="1080000"/>
          </a:xfrm>
          <a:prstGeom prst="rect">
            <a:avLst/>
          </a:prstGeom>
        </p:spPr>
      </p:pic>
      <p:sp>
        <p:nvSpPr>
          <p:cNvPr id="46" name="矢印: 右 45">
            <a:extLst>
              <a:ext uri="{FF2B5EF4-FFF2-40B4-BE49-F238E27FC236}">
                <a16:creationId xmlns:a16="http://schemas.microsoft.com/office/drawing/2014/main" id="{9B602558-CA93-B718-9DF4-DD5921421CDF}"/>
              </a:ext>
            </a:extLst>
          </p:cNvPr>
          <p:cNvSpPr/>
          <p:nvPr/>
        </p:nvSpPr>
        <p:spPr>
          <a:xfrm>
            <a:off x="4860032" y="3933056"/>
            <a:ext cx="360040" cy="30824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2878275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図 24" descr="「前面カメラ」画面の画像">
            <a:extLst>
              <a:ext uri="{FF2B5EF4-FFF2-40B4-BE49-F238E27FC236}">
                <a16:creationId xmlns:a16="http://schemas.microsoft.com/office/drawing/2014/main" id="{866B1B58-3AF5-4C71-827A-7661979C49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4522" y="2350760"/>
            <a:ext cx="2130058" cy="3780000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自撮りをしてみよ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D7B8115-1923-40C8-B4EE-4A3B07578796}"/>
              </a:ext>
            </a:extLst>
          </p:cNvPr>
          <p:cNvSpPr/>
          <p:nvPr/>
        </p:nvSpPr>
        <p:spPr>
          <a:xfrm>
            <a:off x="4434939" y="558780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86383" y="1821510"/>
            <a:ext cx="29520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回転する矢印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スマートフォンを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やや斜め上にあげ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上手く撮れます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シャッターボタン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298" y="1399499"/>
            <a:ext cx="8280000" cy="360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ja-JP" altLang="en-US" dirty="0"/>
              <a:t>前面カメラを使って自撮りをしてみ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5298473" y="565267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3" name="Picture 2" descr="スマホで撮影する人のイラスト（男性）">
            <a:extLst>
              <a:ext uri="{FF2B5EF4-FFF2-40B4-BE49-F238E27FC236}">
                <a16:creationId xmlns:a16="http://schemas.microsoft.com/office/drawing/2014/main" id="{A1573722-66B5-45F1-8F09-A60AEF09DE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8303" y="2736559"/>
            <a:ext cx="161549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矢印: 左右 71">
            <a:extLst>
              <a:ext uri="{FF2B5EF4-FFF2-40B4-BE49-F238E27FC236}">
                <a16:creationId xmlns:a16="http://schemas.microsoft.com/office/drawing/2014/main" id="{FF7FDF66-0A51-4DB0-9554-9FF2FC292A51}"/>
              </a:ext>
            </a:extLst>
          </p:cNvPr>
          <p:cNvSpPr/>
          <p:nvPr/>
        </p:nvSpPr>
        <p:spPr>
          <a:xfrm rot="9619041">
            <a:off x="6791894" y="2461866"/>
            <a:ext cx="762219" cy="382947"/>
          </a:xfrm>
          <a:prstGeom prst="right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effectLst>
                <a:glow rad="25400">
                  <a:schemeClr val="bg1"/>
                </a:glow>
              </a:effectLst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四角形: 角を丸くする 4">
            <a:extLst>
              <a:ext uri="{FF2B5EF4-FFF2-40B4-BE49-F238E27FC236}">
                <a16:creationId xmlns:a16="http://schemas.microsoft.com/office/drawing/2014/main" id="{B3FC90CD-20E3-4B0C-9281-2836DEBC4D18}"/>
              </a:ext>
            </a:extLst>
          </p:cNvPr>
          <p:cNvSpPr/>
          <p:nvPr/>
        </p:nvSpPr>
        <p:spPr>
          <a:xfrm>
            <a:off x="5956094" y="4941320"/>
            <a:ext cx="2404135" cy="1368000"/>
          </a:xfrm>
          <a:prstGeom prst="roundRect">
            <a:avLst>
              <a:gd name="adj" fmla="val 11230"/>
            </a:avLst>
          </a:prstGeom>
          <a:noFill/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更新状況が古い機種ではカメラの前面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/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背面を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えるアイコン形状は以下の場合があります</a:t>
            </a: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28D6291D-D7EC-4CF6-B91B-B3FBC63E8635}"/>
              </a:ext>
            </a:extLst>
          </p:cNvPr>
          <p:cNvSpPr/>
          <p:nvPr/>
        </p:nvSpPr>
        <p:spPr>
          <a:xfrm>
            <a:off x="6080719" y="4595149"/>
            <a:ext cx="8382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’</a:t>
            </a:r>
          </a:p>
        </p:txBody>
      </p:sp>
      <p:grpSp>
        <p:nvGrpSpPr>
          <p:cNvPr id="32" name="図形グループ 31"/>
          <p:cNvGrpSpPr/>
          <p:nvPr/>
        </p:nvGrpSpPr>
        <p:grpSpPr>
          <a:xfrm>
            <a:off x="4283968" y="5440251"/>
            <a:ext cx="296586" cy="293005"/>
            <a:chOff x="4232441" y="3995693"/>
            <a:chExt cx="296586" cy="293005"/>
          </a:xfrm>
        </p:grpSpPr>
        <p:sp>
          <p:nvSpPr>
            <p:cNvPr id="34" name="円/楕円 33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フリーフォーム 34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6" name="図形グループ 35"/>
          <p:cNvGrpSpPr/>
          <p:nvPr/>
        </p:nvGrpSpPr>
        <p:grpSpPr>
          <a:xfrm>
            <a:off x="7083726" y="2348880"/>
            <a:ext cx="296586" cy="293005"/>
            <a:chOff x="3546641" y="3995693"/>
            <a:chExt cx="296586" cy="293005"/>
          </a:xfrm>
        </p:grpSpPr>
        <p:sp>
          <p:nvSpPr>
            <p:cNvPr id="37" name="円/楕円 3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8" name="フリーフォーム 3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2" name="図形グループ 41"/>
          <p:cNvGrpSpPr/>
          <p:nvPr/>
        </p:nvGrpSpPr>
        <p:grpSpPr>
          <a:xfrm>
            <a:off x="5156453" y="5503870"/>
            <a:ext cx="296587" cy="293005"/>
            <a:chOff x="2897417" y="3995693"/>
            <a:chExt cx="296587" cy="293005"/>
          </a:xfrm>
        </p:grpSpPr>
        <p:sp>
          <p:nvSpPr>
            <p:cNvPr id="48" name="円/楕円 4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テキスト ボックス 4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5934350" y="4745736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2" name="テキスト ボックス 51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4" name="グループ化 13">
            <a:extLst>
              <a:ext uri="{FF2B5EF4-FFF2-40B4-BE49-F238E27FC236}">
                <a16:creationId xmlns:a16="http://schemas.microsoft.com/office/drawing/2014/main" id="{7D541997-8A26-8DF0-C1A5-559585F9461C}"/>
              </a:ext>
            </a:extLst>
          </p:cNvPr>
          <p:cNvGrpSpPr/>
          <p:nvPr/>
        </p:nvGrpSpPr>
        <p:grpSpPr>
          <a:xfrm>
            <a:off x="6915859" y="5860341"/>
            <a:ext cx="420746" cy="396230"/>
            <a:chOff x="9163556" y="5652670"/>
            <a:chExt cx="484604" cy="478090"/>
          </a:xfrm>
        </p:grpSpPr>
        <p:sp>
          <p:nvSpPr>
            <p:cNvPr id="13" name="楕円 12">
              <a:extLst>
                <a:ext uri="{FF2B5EF4-FFF2-40B4-BE49-F238E27FC236}">
                  <a16:creationId xmlns:a16="http://schemas.microsoft.com/office/drawing/2014/main" id="{227FBC84-C45D-EFC4-7879-9E17977B0B14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778E8EDA-E25A-9DB0-E526-E6ADDA8A1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7853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図形グループ 1"/>
          <p:cNvGrpSpPr>
            <a:grpSpLocks noChangeAspect="1"/>
          </p:cNvGrpSpPr>
          <p:nvPr/>
        </p:nvGrpSpPr>
        <p:grpSpPr>
          <a:xfrm>
            <a:off x="4530656" y="2708920"/>
            <a:ext cx="1927198" cy="3420000"/>
            <a:chOff x="5422900" y="3022331"/>
            <a:chExt cx="2100565" cy="3727657"/>
          </a:xfrm>
        </p:grpSpPr>
        <p:pic>
          <p:nvPicPr>
            <p:cNvPr id="103" name="図 102">
              <a:extLst>
                <a:ext uri="{FF2B5EF4-FFF2-40B4-BE49-F238E27FC236}">
                  <a16:creationId xmlns:a16="http://schemas.microsoft.com/office/drawing/2014/main" id="{86ED2EB9-BBA7-4206-9BCB-DFF4E91098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2900" y="3022331"/>
              <a:ext cx="2100565" cy="3727657"/>
            </a:xfrm>
            <a:prstGeom prst="rect">
              <a:avLst/>
            </a:prstGeom>
          </p:spPr>
        </p:pic>
        <p:pic>
          <p:nvPicPr>
            <p:cNvPr id="104" name="図 103" descr="グラフィカル ユーザー インターフェイス&#10;&#10;中程度の精度で自動的に生成された説明">
              <a:extLst>
                <a:ext uri="{FF2B5EF4-FFF2-40B4-BE49-F238E27FC236}">
                  <a16:creationId xmlns:a16="http://schemas.microsoft.com/office/drawing/2014/main" id="{6FA306C8-35E1-442C-9845-B8E7B3E24C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026" b="13898"/>
            <a:stretch/>
          </p:blipFill>
          <p:spPr>
            <a:xfrm>
              <a:off x="5422900" y="5887877"/>
              <a:ext cx="2100565" cy="376444"/>
            </a:xfrm>
            <a:prstGeom prst="rect">
              <a:avLst/>
            </a:prstGeom>
          </p:spPr>
        </p:pic>
      </p:grpSp>
      <p:pic>
        <p:nvPicPr>
          <p:cNvPr id="102" name="図 101" descr="「カメラ」の画面の画像">
            <a:extLst>
              <a:ext uri="{FF2B5EF4-FFF2-40B4-BE49-F238E27FC236}">
                <a16:creationId xmlns:a16="http://schemas.microsoft.com/office/drawing/2014/main" id="{836F66B1-E1CD-4DF8-B8D2-60DFAFAC31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7986" y="2708920"/>
            <a:ext cx="1927198" cy="3420000"/>
          </a:xfrm>
          <a:prstGeom prst="rect">
            <a:avLst/>
          </a:prstGeom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968" y="1392371"/>
            <a:ext cx="8280000" cy="396000"/>
          </a:xfrm>
        </p:spPr>
        <p:txBody>
          <a:bodyPr>
            <a:noAutofit/>
          </a:bodyPr>
          <a:lstStyle/>
          <a:p>
            <a:pPr marL="8975">
              <a:lnSpc>
                <a:spcPct val="100000"/>
              </a:lnSpc>
            </a:pP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Phone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の操作アイコ</a:t>
            </a:r>
            <a:r>
              <a:rPr lang="ja-JP" altLang="en-US" spc="-10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ン</a:t>
            </a:r>
            <a:r>
              <a:rPr lang="ja-JP" altLang="en-US" b="0" dirty="0"/>
              <a:t>［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iOS13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以降の機種の場合</a:t>
            </a:r>
            <a:r>
              <a:rPr lang="ja-JP" altLang="en-US" b="0" dirty="0"/>
              <a:t>］</a:t>
            </a:r>
            <a:endParaRPr lang="en-US" altLang="ja-JP" b="0" dirty="0"/>
          </a:p>
          <a:p>
            <a:pPr marL="8975">
              <a:lnSpc>
                <a:spcPct val="10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2617674" y="2636960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945621" y="5708089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29413" y="1944540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もう一度同じ場所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戻ります</a:t>
            </a:r>
          </a:p>
        </p:txBody>
      </p:sp>
      <p:sp>
        <p:nvSpPr>
          <p:cNvPr id="99" name="テキスト ボックス 9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323767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0" name="テキスト ボックス 9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018604" y="187111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1" name="テキスト ボックス 10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758298" y="1944540"/>
            <a:ext cx="244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色々な機能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部に表示されます</a:t>
            </a:r>
          </a:p>
        </p:txBody>
      </p:sp>
      <p:sp>
        <p:nvSpPr>
          <p:cNvPr id="105" name="正方形/長方形 104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5289236" y="262996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1877986" y="5487168"/>
            <a:ext cx="1927198" cy="17428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" name="カギ線コネクタ 5"/>
          <p:cNvCxnSpPr>
            <a:cxnSpLocks/>
          </p:cNvCxnSpPr>
          <p:nvPr/>
        </p:nvCxnSpPr>
        <p:spPr>
          <a:xfrm rot="5400000" flipH="1" flipV="1">
            <a:off x="4371507" y="2845607"/>
            <a:ext cx="2923674" cy="2146784"/>
          </a:xfrm>
          <a:prstGeom prst="bentConnector3">
            <a:avLst>
              <a:gd name="adj1" fmla="val 7163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カギ線コネクタ 115"/>
          <p:cNvCxnSpPr/>
          <p:nvPr/>
        </p:nvCxnSpPr>
        <p:spPr>
          <a:xfrm rot="5400000" flipH="1" flipV="1">
            <a:off x="5916019" y="4395286"/>
            <a:ext cx="1008000" cy="97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カギ線コネクタ 130"/>
          <p:cNvCxnSpPr>
            <a:cxnSpLocks/>
          </p:cNvCxnSpPr>
          <p:nvPr/>
        </p:nvCxnSpPr>
        <p:spPr>
          <a:xfrm rot="5400000" flipH="1" flipV="1">
            <a:off x="5723505" y="4762126"/>
            <a:ext cx="1737391" cy="461969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684646" y="2248238"/>
            <a:ext cx="2016000" cy="3852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フラッシュ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自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ン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オフ）</a:t>
            </a:r>
          </a:p>
          <a:p>
            <a:pPr algn="just"/>
            <a:endParaRPr lang="en-US" sz="1400" b="1" kern="100" dirty="0">
              <a:solidFill>
                <a:srgbClr val="00B0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  <a:endParaRPr lang="en-US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8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前でのカメラのアイコンはこの形です</a:t>
            </a:r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kern="100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cxnSp>
        <p:nvCxnSpPr>
          <p:cNvPr id="139" name="カギ線コネクタ 138"/>
          <p:cNvCxnSpPr/>
          <p:nvPr/>
        </p:nvCxnSpPr>
        <p:spPr>
          <a:xfrm rot="16200000" flipV="1">
            <a:off x="737736" y="4020315"/>
            <a:ext cx="198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/>
          <p:nvPr/>
        </p:nvCxnSpPr>
        <p:spPr>
          <a:xfrm flipH="1" flipV="1">
            <a:off x="1474208" y="4797152"/>
            <a:ext cx="468000" cy="1080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429704" y="3416808"/>
            <a:ext cx="1116000" cy="2844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ドラッグして</a:t>
            </a: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sz="1400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選択</a:t>
            </a:r>
            <a:endParaRPr lang="en-US" altLang="ja-JP" sz="1400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endParaRPr lang="en-US" altLang="ja-JP" sz="1400" kern="100" dirty="0">
              <a:ea typeface="HG丸ｺﾞｼｯｸM-PRO" panose="020F0600000000000000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サムネイル</a:t>
            </a:r>
            <a:endParaRPr lang="ja-JP" altLang="ja-JP" sz="1400" kern="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った写真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チェックする</a:t>
            </a:r>
          </a:p>
          <a:p>
            <a:pPr algn="r"/>
            <a:endParaRPr lang="en-US" alt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  <a:p>
            <a:pPr algn="r"/>
            <a:endParaRPr lang="ja-JP" sz="1400" kern="100" dirty="0">
              <a:effectLst/>
              <a:ea typeface="ＭＳ 明朝" panose="02020609040205080304" pitchFamily="17" charset="-128"/>
              <a:cs typeface="Times New Roman" panose="02020603050405020304" pitchFamily="18" charset="0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695172" y="6179592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143" name="カギ線コネクタ 142"/>
          <p:cNvCxnSpPr/>
          <p:nvPr/>
        </p:nvCxnSpPr>
        <p:spPr>
          <a:xfrm rot="5400000">
            <a:off x="2429808" y="5886106"/>
            <a:ext cx="216000" cy="612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図形グループ 57"/>
          <p:cNvGrpSpPr/>
          <p:nvPr/>
        </p:nvGrpSpPr>
        <p:grpSpPr>
          <a:xfrm>
            <a:off x="5130754" y="2492896"/>
            <a:ext cx="296586" cy="293005"/>
            <a:chOff x="3546641" y="3995693"/>
            <a:chExt cx="296586" cy="293005"/>
          </a:xfrm>
        </p:grpSpPr>
        <p:sp>
          <p:nvSpPr>
            <p:cNvPr id="59" name="円/楕円 5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0" name="フリーフォーム 5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2470483" y="2492896"/>
            <a:ext cx="296587" cy="293005"/>
            <a:chOff x="2897417" y="3995693"/>
            <a:chExt cx="296587" cy="293005"/>
          </a:xfrm>
        </p:grpSpPr>
        <p:sp>
          <p:nvSpPr>
            <p:cNvPr id="62" name="円/楕円 6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テキスト ボックス 6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7" name="図 16" descr="「カメラ」の画面の画像">
            <a:extLst>
              <a:ext uri="{FF2B5EF4-FFF2-40B4-BE49-F238E27FC236}">
                <a16:creationId xmlns:a16="http://schemas.microsoft.com/office/drawing/2014/main" id="{8EE2CB9E-621A-6804-F99F-2C5D27D5112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1120" r="42692" b="94531"/>
          <a:stretch/>
        </p:blipFill>
        <p:spPr>
          <a:xfrm rot="10800000">
            <a:off x="5359546" y="2744975"/>
            <a:ext cx="311985" cy="187050"/>
          </a:xfrm>
          <a:prstGeom prst="rect">
            <a:avLst/>
          </a:prstGeom>
        </p:spPr>
      </p:pic>
      <p:sp>
        <p:nvSpPr>
          <p:cNvPr id="18" name="楕円 17">
            <a:extLst>
              <a:ext uri="{FF2B5EF4-FFF2-40B4-BE49-F238E27FC236}">
                <a16:creationId xmlns:a16="http://schemas.microsoft.com/office/drawing/2014/main" id="{815C66F5-A2F5-E6D3-7C74-2B8EF58AB865}"/>
              </a:ext>
            </a:extLst>
          </p:cNvPr>
          <p:cNvSpPr/>
          <p:nvPr/>
        </p:nvSpPr>
        <p:spPr>
          <a:xfrm>
            <a:off x="6089172" y="5740667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9" name="楕円 18">
            <a:extLst>
              <a:ext uri="{FF2B5EF4-FFF2-40B4-BE49-F238E27FC236}">
                <a16:creationId xmlns:a16="http://schemas.microsoft.com/office/drawing/2014/main" id="{150C949E-4F87-39CC-0C28-0852280362E0}"/>
              </a:ext>
            </a:extLst>
          </p:cNvPr>
          <p:cNvSpPr/>
          <p:nvPr/>
        </p:nvSpPr>
        <p:spPr>
          <a:xfrm>
            <a:off x="4617720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ACB70EB1-F12E-B087-2B2C-0872EC8F2631}"/>
              </a:ext>
            </a:extLst>
          </p:cNvPr>
          <p:cNvSpPr/>
          <p:nvPr/>
        </p:nvSpPr>
        <p:spPr>
          <a:xfrm>
            <a:off x="5790092" y="538083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4" name="楕円 23">
            <a:extLst>
              <a:ext uri="{FF2B5EF4-FFF2-40B4-BE49-F238E27FC236}">
                <a16:creationId xmlns:a16="http://schemas.microsoft.com/office/drawing/2014/main" id="{8AFC2397-C978-0ED4-A147-7566DCEE4958}"/>
              </a:ext>
            </a:extLst>
          </p:cNvPr>
          <p:cNvSpPr/>
          <p:nvPr/>
        </p:nvSpPr>
        <p:spPr>
          <a:xfrm>
            <a:off x="2650644" y="5699348"/>
            <a:ext cx="378390" cy="360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E24042D3-7984-6ED2-3947-02C33FD499F7}"/>
              </a:ext>
            </a:extLst>
          </p:cNvPr>
          <p:cNvGrpSpPr/>
          <p:nvPr/>
        </p:nvGrpSpPr>
        <p:grpSpPr>
          <a:xfrm>
            <a:off x="7445824" y="5795876"/>
            <a:ext cx="484604" cy="478090"/>
            <a:chOff x="9163556" y="5652670"/>
            <a:chExt cx="484604" cy="478090"/>
          </a:xfrm>
        </p:grpSpPr>
        <p:sp>
          <p:nvSpPr>
            <p:cNvPr id="26" name="楕円 25">
              <a:extLst>
                <a:ext uri="{FF2B5EF4-FFF2-40B4-BE49-F238E27FC236}">
                  <a16:creationId xmlns:a16="http://schemas.microsoft.com/office/drawing/2014/main" id="{5A20C785-FFEA-46EA-DF47-5E005DFFF8B2}"/>
                </a:ext>
              </a:extLst>
            </p:cNvPr>
            <p:cNvSpPr/>
            <p:nvPr/>
          </p:nvSpPr>
          <p:spPr>
            <a:xfrm>
              <a:off x="9163556" y="5652670"/>
              <a:ext cx="484604" cy="47809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27" name="図 26">
              <a:extLst>
                <a:ext uri="{FF2B5EF4-FFF2-40B4-BE49-F238E27FC236}">
                  <a16:creationId xmlns:a16="http://schemas.microsoft.com/office/drawing/2014/main" id="{839D5D43-1016-9438-CF6C-1FAA90B2276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31828" y="5734530"/>
              <a:ext cx="352474" cy="314369"/>
            </a:xfrm>
            <a:prstGeom prst="rect">
              <a:avLst/>
            </a:prstGeom>
          </p:spPr>
        </p:pic>
      </p:grpSp>
      <p:sp>
        <p:nvSpPr>
          <p:cNvPr id="31" name="矢印: 右 30">
            <a:extLst>
              <a:ext uri="{FF2B5EF4-FFF2-40B4-BE49-F238E27FC236}">
                <a16:creationId xmlns:a16="http://schemas.microsoft.com/office/drawing/2014/main" id="{F9A525D1-848D-74E5-117A-54C50273C631}"/>
              </a:ext>
            </a:extLst>
          </p:cNvPr>
          <p:cNvSpPr/>
          <p:nvPr/>
        </p:nvSpPr>
        <p:spPr>
          <a:xfrm>
            <a:off x="3995936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851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図形グループ 9" descr="さまざまな操作アイコンがある「カメラ」の画面の画像"/>
          <p:cNvGrpSpPr>
            <a:grpSpLocks noChangeAspect="1"/>
          </p:cNvGrpSpPr>
          <p:nvPr/>
        </p:nvGrpSpPr>
        <p:grpSpPr>
          <a:xfrm>
            <a:off x="3541010" y="2345133"/>
            <a:ext cx="2050277" cy="3420000"/>
            <a:chOff x="4279900" y="2638425"/>
            <a:chExt cx="2266950" cy="3781425"/>
          </a:xfrm>
        </p:grpSpPr>
        <p:pic>
          <p:nvPicPr>
            <p:cNvPr id="56" name="図 55">
              <a:extLst>
                <a:ext uri="{FF2B5EF4-FFF2-40B4-BE49-F238E27FC236}">
                  <a16:creationId xmlns:a16="http://schemas.microsoft.com/office/drawing/2014/main" id="{FE913D1C-9871-44BE-9F8B-B93EE4C13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79900" y="2638425"/>
              <a:ext cx="2266950" cy="3781425"/>
            </a:xfrm>
            <a:prstGeom prst="rect">
              <a:avLst/>
            </a:prstGeom>
          </p:spPr>
        </p:pic>
        <p:sp>
          <p:nvSpPr>
            <p:cNvPr id="58" name="矢印: 左右 18">
              <a:extLst>
                <a:ext uri="{FF2B5EF4-FFF2-40B4-BE49-F238E27FC236}">
                  <a16:creationId xmlns:a16="http://schemas.microsoft.com/office/drawing/2014/main" id="{D269FAFD-E3FF-4C55-B473-DA04F0E940D1}"/>
                </a:ext>
              </a:extLst>
            </p:cNvPr>
            <p:cNvSpPr/>
            <p:nvPr/>
          </p:nvSpPr>
          <p:spPr>
            <a:xfrm>
              <a:off x="4807525" y="5381625"/>
              <a:ext cx="1301175" cy="264362"/>
            </a:xfrm>
            <a:prstGeom prst="left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さまざまな操作機能</a:t>
            </a:r>
          </a:p>
        </p:txBody>
      </p:sp>
      <p:sp>
        <p:nvSpPr>
          <p:cNvPr id="82" name="正方形/長方形 8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570088" y="5363041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9" name="正方形/長方形 108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466576" y="5142121"/>
            <a:ext cx="2196000" cy="18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16" name="カギ線コネクタ 115"/>
          <p:cNvCxnSpPr/>
          <p:nvPr/>
        </p:nvCxnSpPr>
        <p:spPr>
          <a:xfrm rot="16200000" flipH="1">
            <a:off x="5263926" y="2339531"/>
            <a:ext cx="648000" cy="111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円/楕円 120"/>
          <p:cNvSpPr>
            <a:spLocks noChangeAspect="1"/>
          </p:cNvSpPr>
          <p:nvPr/>
        </p:nvSpPr>
        <p:spPr>
          <a:xfrm>
            <a:off x="5263919" y="5390312"/>
            <a:ext cx="288000" cy="288000"/>
          </a:xfrm>
          <a:prstGeom prst="ellipse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31" name="カギ線コネクタ 130"/>
          <p:cNvCxnSpPr/>
          <p:nvPr/>
        </p:nvCxnSpPr>
        <p:spPr>
          <a:xfrm flipV="1">
            <a:off x="5544160" y="4722457"/>
            <a:ext cx="468000" cy="7920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カギ線コネクタ 138"/>
          <p:cNvCxnSpPr/>
          <p:nvPr/>
        </p:nvCxnSpPr>
        <p:spPr>
          <a:xfrm rot="5400000" flipH="1" flipV="1">
            <a:off x="5181578" y="4037730"/>
            <a:ext cx="1260000" cy="936000"/>
          </a:xfrm>
          <a:prstGeom prst="bentConnector3">
            <a:avLst>
              <a:gd name="adj1" fmla="val 99953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カギ線コネクタ 139"/>
          <p:cNvCxnSpPr>
            <a:cxnSpLocks/>
            <a:stCxn id="82" idx="1"/>
            <a:endCxn id="136" idx="3"/>
          </p:cNvCxnSpPr>
          <p:nvPr/>
        </p:nvCxnSpPr>
        <p:spPr>
          <a:xfrm rot="10800000">
            <a:off x="3137924" y="4337507"/>
            <a:ext cx="432165" cy="1205535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カギ線コネクタ 142"/>
          <p:cNvCxnSpPr>
            <a:cxnSpLocks/>
            <a:stCxn id="18" idx="4"/>
          </p:cNvCxnSpPr>
          <p:nvPr/>
        </p:nvCxnSpPr>
        <p:spPr>
          <a:xfrm rot="16200000" flipH="1">
            <a:off x="4957605" y="5361397"/>
            <a:ext cx="304950" cy="1083840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 txBox="1">
            <a:spLocks/>
          </p:cNvSpPr>
          <p:nvPr/>
        </p:nvSpPr>
        <p:spPr>
          <a:xfrm>
            <a:off x="505968" y="1530394"/>
            <a:ext cx="8280000" cy="576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">
              <a:lnSpc>
                <a:spcPct val="50000"/>
              </a:lnSpc>
            </a:pPr>
            <a:r>
              <a:rPr lang="en-US" altLang="ja-JP" dirty="0">
                <a:latin typeface="メイリオ"/>
                <a:ea typeface="メイリオ"/>
                <a:cs typeface="Schoolbook Uralic"/>
              </a:rPr>
              <a:t>iPhone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の操作アイコ</a:t>
            </a:r>
            <a:r>
              <a:rPr lang="ja-JP" altLang="en-US" spc="-1000">
                <a:latin typeface="メイリオ"/>
                <a:ea typeface="メイリオ"/>
                <a:cs typeface="Schoolbook Uralic"/>
              </a:rPr>
              <a:t>ン</a:t>
            </a:r>
            <a:r>
              <a:rPr lang="ja-JP" altLang="en-US" b="0">
                <a:latin typeface="Meiryo"/>
                <a:ea typeface="Meiryo"/>
              </a:rPr>
              <a:t>［</a:t>
            </a:r>
            <a:r>
              <a:rPr lang="en-US" altLang="ja-JP" dirty="0">
                <a:latin typeface="メイリオ"/>
                <a:ea typeface="メイリオ"/>
                <a:cs typeface="Schoolbook Uralic"/>
              </a:rPr>
              <a:t>iOS12</a:t>
            </a:r>
            <a:r>
              <a:rPr lang="ja-JP" altLang="en-US">
                <a:latin typeface="メイリオ"/>
                <a:ea typeface="メイリオ"/>
                <a:cs typeface="Schoolbook Uralic"/>
              </a:rPr>
              <a:t>以前の機種の場合</a:t>
            </a:r>
            <a:r>
              <a:rPr lang="ja-JP" altLang="en-US" b="0">
                <a:latin typeface="Meiryo"/>
                <a:ea typeface="Meiryo"/>
              </a:rPr>
              <a:t>］</a:t>
            </a:r>
            <a:endParaRPr lang="en-US" altLang="ja-JP" b="0">
              <a:latin typeface="Meiryo"/>
              <a:ea typeface="Meiryo"/>
            </a:endParaRPr>
          </a:p>
          <a:p>
            <a:pPr marL="8890">
              <a:lnSpc>
                <a:spcPct val="50000"/>
              </a:lnSpc>
            </a:pPr>
            <a:r>
              <a:rPr lang="ja-JP" altLang="en-US" sz="1600" dirty="0">
                <a:latin typeface="メイリオ" panose="020B0604030504040204" pitchFamily="50" charset="-128"/>
                <a:ea typeface="メイリオ" panose="020B0604030504040204" pitchFamily="50" charset="-128"/>
                <a:cs typeface="Schoolbook Uralic"/>
              </a:rPr>
              <a:t>アイコンの表示位置などが変わっています。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  <a:cs typeface="kiloji"/>
            </a:endParaRPr>
          </a:p>
          <a:p>
            <a:pPr marL="8890">
              <a:lnSpc>
                <a:spcPct val="50000"/>
              </a:lnSpc>
            </a:pPr>
            <a:endParaRPr lang="en-US" altLang="ja-JP" dirty="0">
              <a:latin typeface="メイリオ" panose="020B0604030504040204" pitchFamily="50" charset="-128"/>
              <a:ea typeface="メイリオ" panose="020B0604030504040204" pitchFamily="50" charset="-128"/>
              <a:cs typeface="Schoolbook Uralic"/>
            </a:endParaRPr>
          </a:p>
        </p:txBody>
      </p:sp>
      <p:cxnSp>
        <p:nvCxnSpPr>
          <p:cNvPr id="14" name="直線コネクタ 13"/>
          <p:cNvCxnSpPr/>
          <p:nvPr/>
        </p:nvCxnSpPr>
        <p:spPr>
          <a:xfrm flipH="1">
            <a:off x="2699792" y="2438140"/>
            <a:ext cx="82659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テキスト ボックス 10353">
            <a:extLst>
              <a:ext uri="{FF2B5EF4-FFF2-40B4-BE49-F238E27FC236}">
                <a16:creationId xmlns:a16="http://schemas.microsoft.com/office/drawing/2014/main" id="{DE861DA0-B21F-47EB-B995-A88A4F1EDDE7}"/>
              </a:ext>
            </a:extLst>
          </p:cNvPr>
          <p:cNvSpPr txBox="1"/>
          <p:nvPr/>
        </p:nvSpPr>
        <p:spPr>
          <a:xfrm>
            <a:off x="6014672" y="2719813"/>
            <a:ext cx="2520000" cy="36000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3600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en-US" altLang="ja-JP" sz="1400" b="1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セルフタイマー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（オフ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3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10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秒）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モード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を左右に</a:t>
            </a:r>
            <a:r>
              <a:rPr lang="ja-JP" altLang="en-US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して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撮影の種類の選択</a:t>
            </a:r>
          </a:p>
          <a:p>
            <a:pPr algn="just"/>
            <a:endParaRPr lang="en-US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ja-JP" sz="1400" b="1" kern="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メラの切り替え</a:t>
            </a:r>
          </a:p>
          <a:p>
            <a:pPr algn="just"/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背面</a:t>
            </a:r>
            <a:r>
              <a:rPr lang="en-US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/</a:t>
            </a:r>
            <a:r>
              <a:rPr lang="ja-JP" altLang="ja-JP" sz="14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前面</a:t>
            </a:r>
          </a:p>
          <a:p>
            <a:pPr algn="just"/>
            <a:r>
              <a:rPr lang="en-US" altLang="ja-JP" sz="1400" kern="100" dirty="0" err="1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iPhoneX</a:t>
            </a:r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以降でのカメラの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ja-JP" altLang="en-US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アイコンはこの形です</a:t>
            </a:r>
            <a:endParaRPr lang="en-US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r>
              <a:rPr lang="en-US" altLang="ja-JP" sz="1400" kern="10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endParaRPr lang="ja-JP" altLang="ja-JP" sz="1400" kern="100" dirty="0">
              <a:solidFill>
                <a:schemeClr val="tx1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/>
            <a:endParaRPr lang="ja-JP" altLang="ja-JP" sz="1400" kern="100" dirty="0">
              <a:solidFill>
                <a:srgbClr val="00B05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6" name="テキスト ボックス 10388">
            <a:extLst>
              <a:ext uri="{FF2B5EF4-FFF2-40B4-BE49-F238E27FC236}">
                <a16:creationId xmlns:a16="http://schemas.microsoft.com/office/drawing/2014/main" id="{EDBECF62-F61A-44D9-A5C2-307A68E468AB}"/>
              </a:ext>
            </a:extLst>
          </p:cNvPr>
          <p:cNvSpPr txBox="1"/>
          <p:nvPr/>
        </p:nvSpPr>
        <p:spPr>
          <a:xfrm>
            <a:off x="617923" y="2357506"/>
            <a:ext cx="2520000" cy="3960000"/>
          </a:xfrm>
          <a:prstGeom prst="rect">
            <a:avLst/>
          </a:prstGeom>
          <a:solidFill>
            <a:schemeClr val="lt1"/>
          </a:solidFill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フラッシュ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（自動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ン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オフ）</a:t>
            </a:r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en-US" altLang="ja-JP" sz="1400" kern="100" dirty="0">
              <a:solidFill>
                <a:srgbClr val="00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r>
              <a:rPr lang="ja-JP" altLang="ja-JP" sz="1400" b="1" kern="1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ムネイル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撮った写真</a:t>
            </a:r>
            <a:r>
              <a:rPr lang="en-US" altLang="ja-JP" sz="1400" kern="1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ビデオを</a:t>
            </a:r>
          </a:p>
          <a:p>
            <a:pPr algn="r"/>
            <a:r>
              <a:rPr lang="ja-JP" altLang="ja-JP" sz="1400" kern="100" dirty="0">
                <a:latin typeface="Meiryo" charset="-128"/>
                <a:ea typeface="Meiryo" charset="-128"/>
                <a:cs typeface="Meiryo" charset="-128"/>
              </a:rPr>
              <a:t>チェックする</a:t>
            </a:r>
          </a:p>
          <a:p>
            <a:pPr algn="r"/>
            <a:endParaRPr lang="en-US" altLang="ja-JP" sz="1400" kern="100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en-US" sz="1400" kern="100" dirty="0">
              <a:latin typeface="Meiryo" charset="-128"/>
              <a:ea typeface="Meiryo" charset="-128"/>
              <a:cs typeface="Meiryo" charset="-128"/>
            </a:endParaRPr>
          </a:p>
          <a:p>
            <a:pPr algn="r"/>
            <a:endParaRPr lang="ja-JP" altLang="ja-JP" sz="1400" kern="100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2" name="テキスト ボックス 164">
            <a:extLst>
              <a:ext uri="{FF2B5EF4-FFF2-40B4-BE49-F238E27FC236}">
                <a16:creationId xmlns:a16="http://schemas.microsoft.com/office/drawing/2014/main" id="{1E34DD15-BB11-4F61-8008-A1A69B49ED51}"/>
              </a:ext>
            </a:extLst>
          </p:cNvPr>
          <p:cNvSpPr txBox="1"/>
          <p:nvPr/>
        </p:nvSpPr>
        <p:spPr>
          <a:xfrm>
            <a:off x="5598863" y="5929434"/>
            <a:ext cx="1925465" cy="276612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ja-JP" sz="1400" b="1" kern="100" dirty="0">
                <a:solidFill>
                  <a:srgbClr val="009650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シャッターボタン</a:t>
            </a:r>
            <a:endParaRPr lang="ja-JP" sz="1400" kern="100" dirty="0">
              <a:solidFill>
                <a:srgbClr val="009650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5" name="楕円 14">
            <a:extLst>
              <a:ext uri="{FF2B5EF4-FFF2-40B4-BE49-F238E27FC236}">
                <a16:creationId xmlns:a16="http://schemas.microsoft.com/office/drawing/2014/main" id="{ED9FD31C-C036-A29B-845A-19000174086E}"/>
              </a:ext>
            </a:extLst>
          </p:cNvPr>
          <p:cNvSpPr/>
          <p:nvPr/>
        </p:nvSpPr>
        <p:spPr>
          <a:xfrm>
            <a:off x="3511820" y="2316376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6" name="図 15" descr="「カメラ」の画面の画像">
            <a:extLst>
              <a:ext uri="{FF2B5EF4-FFF2-40B4-BE49-F238E27FC236}">
                <a16:creationId xmlns:a16="http://schemas.microsoft.com/office/drawing/2014/main" id="{66B2F7A5-5A41-CCC4-CCEB-DF4346F4810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9331" t="88186" r="1987" b="2574"/>
          <a:stretch/>
        </p:blipFill>
        <p:spPr>
          <a:xfrm>
            <a:off x="6062925" y="5504037"/>
            <a:ext cx="433306" cy="380280"/>
          </a:xfrm>
          <a:prstGeom prst="rect">
            <a:avLst/>
          </a:prstGeom>
        </p:spPr>
      </p:pic>
      <p:sp>
        <p:nvSpPr>
          <p:cNvPr id="17" name="楕円 16">
            <a:extLst>
              <a:ext uri="{FF2B5EF4-FFF2-40B4-BE49-F238E27FC236}">
                <a16:creationId xmlns:a16="http://schemas.microsoft.com/office/drawing/2014/main" id="{A3526F0A-1870-4F29-7F17-9E92906EFCDD}"/>
              </a:ext>
            </a:extLst>
          </p:cNvPr>
          <p:cNvSpPr/>
          <p:nvPr/>
        </p:nvSpPr>
        <p:spPr>
          <a:xfrm>
            <a:off x="4889685" y="2297829"/>
            <a:ext cx="283028" cy="28062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楕円 17">
            <a:extLst>
              <a:ext uri="{FF2B5EF4-FFF2-40B4-BE49-F238E27FC236}">
                <a16:creationId xmlns:a16="http://schemas.microsoft.com/office/drawing/2014/main" id="{07B49B47-BA5B-46FB-1F8A-86C7FC90E845}"/>
              </a:ext>
            </a:extLst>
          </p:cNvPr>
          <p:cNvSpPr/>
          <p:nvPr/>
        </p:nvSpPr>
        <p:spPr>
          <a:xfrm>
            <a:off x="4355976" y="5341171"/>
            <a:ext cx="424367" cy="409671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3472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図 43" descr="カップに入った飲み物&#10;&#10;自動的に生成された説明">
            <a:extLst>
              <a:ext uri="{FF2B5EF4-FFF2-40B4-BE49-F238E27FC236}">
                <a16:creationId xmlns:a16="http://schemas.microsoft.com/office/drawing/2014/main" id="{5B1FCF10-1213-3C6E-C96C-E53F66421D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09731" y="2699111"/>
            <a:ext cx="1640394" cy="2909483"/>
          </a:xfrm>
          <a:prstGeom prst="rect">
            <a:avLst/>
          </a:prstGeom>
        </p:spPr>
      </p:pic>
      <p:pic>
        <p:nvPicPr>
          <p:cNvPr id="38" name="図 37" descr="屋内, 食品, 写真, 探す が含まれている画像&#10;&#10;自動的に生成された説明">
            <a:extLst>
              <a:ext uri="{FF2B5EF4-FFF2-40B4-BE49-F238E27FC236}">
                <a16:creationId xmlns:a16="http://schemas.microsoft.com/office/drawing/2014/main" id="{4AD66D72-B423-0DB4-78A9-836C651E3B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3320" y="2713171"/>
            <a:ext cx="1643165" cy="2909483"/>
          </a:xfrm>
          <a:prstGeom prst="rect">
            <a:avLst/>
          </a:prstGeom>
        </p:spPr>
      </p:pic>
      <p:pic>
        <p:nvPicPr>
          <p:cNvPr id="23" name="図 22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3281501C-E7FC-E844-C43E-8B309C2054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87007" y="2707896"/>
            <a:ext cx="1640394" cy="2909483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8280000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ましょう。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69252" y="1931435"/>
            <a:ext cx="19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ルバム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で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最近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項目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1950097"/>
            <a:ext cx="183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1931435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覧表示され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から見たい写真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して拡大表示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192238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0" name="図形グループ 69"/>
          <p:cNvGrpSpPr/>
          <p:nvPr/>
        </p:nvGrpSpPr>
        <p:grpSpPr>
          <a:xfrm>
            <a:off x="5772355" y="3529696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E8B7BA12-F979-156F-48E8-300B710921C3}"/>
              </a:ext>
            </a:extLst>
          </p:cNvPr>
          <p:cNvGrpSpPr/>
          <p:nvPr/>
        </p:nvGrpSpPr>
        <p:grpSpPr>
          <a:xfrm>
            <a:off x="552078" y="2733384"/>
            <a:ext cx="1572669" cy="3017694"/>
            <a:chOff x="6156408" y="3057373"/>
            <a:chExt cx="1515397" cy="3060000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B970CA22-2CDD-E442-1967-83185C4571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156408" y="3057373"/>
              <a:ext cx="1515397" cy="3060000"/>
            </a:xfrm>
            <a:prstGeom prst="rect">
              <a:avLst/>
            </a:prstGeom>
          </p:spPr>
        </p:pic>
        <p:pic>
          <p:nvPicPr>
            <p:cNvPr id="10" name="図 9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B4CF568-145B-60F5-2F2A-C892EC5C5C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242705" y="3394470"/>
              <a:ext cx="1329668" cy="2365036"/>
            </a:xfrm>
            <a:prstGeom prst="rect">
              <a:avLst/>
            </a:prstGeom>
          </p:spPr>
        </p:pic>
      </p:grp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38BE7FA8-CBB8-B6CC-7FA0-BB129EF2BC58}"/>
              </a:ext>
            </a:extLst>
          </p:cNvPr>
          <p:cNvSpPr/>
          <p:nvPr/>
        </p:nvSpPr>
        <p:spPr>
          <a:xfrm flipH="1">
            <a:off x="1030876" y="3750575"/>
            <a:ext cx="300764" cy="293005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2" name="図形グループ 75">
            <a:extLst>
              <a:ext uri="{FF2B5EF4-FFF2-40B4-BE49-F238E27FC236}">
                <a16:creationId xmlns:a16="http://schemas.microsoft.com/office/drawing/2014/main" id="{A929AFDE-A382-24D6-FB6A-FD6E72474168}"/>
              </a:ext>
            </a:extLst>
          </p:cNvPr>
          <p:cNvGrpSpPr/>
          <p:nvPr/>
        </p:nvGrpSpPr>
        <p:grpSpPr>
          <a:xfrm>
            <a:off x="843540" y="3441153"/>
            <a:ext cx="296587" cy="293005"/>
            <a:chOff x="2897417" y="3995693"/>
            <a:chExt cx="296587" cy="293005"/>
          </a:xfrm>
        </p:grpSpPr>
        <p:sp>
          <p:nvSpPr>
            <p:cNvPr id="13" name="円/楕円 76">
              <a:extLst>
                <a:ext uri="{FF2B5EF4-FFF2-40B4-BE49-F238E27FC236}">
                  <a16:creationId xmlns:a16="http://schemas.microsoft.com/office/drawing/2014/main" id="{F928A0DE-FBA3-D616-B04A-FEF8DE35F4A4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F663AA8E-27EB-A59F-F404-5DB94730DBEA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B8F2D9A8-2A1E-68EB-5643-687A5DD73079}"/>
              </a:ext>
            </a:extLst>
          </p:cNvPr>
          <p:cNvSpPr/>
          <p:nvPr/>
        </p:nvSpPr>
        <p:spPr>
          <a:xfrm>
            <a:off x="2807513" y="2709843"/>
            <a:ext cx="165051" cy="87041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6A5FEDC0-10E3-5CC0-C4E7-B61060A9DBF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30380" y="2718446"/>
            <a:ext cx="230956" cy="78438"/>
          </a:xfrm>
          <a:prstGeom prst="rect">
            <a:avLst/>
          </a:prstGeom>
        </p:spPr>
      </p:pic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C24FE22-8141-27FB-A744-01B87A5914E4}"/>
              </a:ext>
            </a:extLst>
          </p:cNvPr>
          <p:cNvSpPr/>
          <p:nvPr/>
        </p:nvSpPr>
        <p:spPr>
          <a:xfrm flipH="1">
            <a:off x="5960492" y="3821999"/>
            <a:ext cx="536674" cy="549976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CF9B3C0A-7882-6999-4B4E-C6E9151EA2A9}"/>
              </a:ext>
            </a:extLst>
          </p:cNvPr>
          <p:cNvSpPr/>
          <p:nvPr/>
        </p:nvSpPr>
        <p:spPr>
          <a:xfrm flipH="1">
            <a:off x="2744241" y="3436037"/>
            <a:ext cx="745185" cy="91688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B2EB313B-461E-79D2-DD80-0768062BCBAA}"/>
              </a:ext>
            </a:extLst>
          </p:cNvPr>
          <p:cNvSpPr txBox="1"/>
          <p:nvPr/>
        </p:nvSpPr>
        <p:spPr>
          <a:xfrm>
            <a:off x="2308879" y="3254375"/>
            <a:ext cx="540000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矢印: 右 67">
            <a:extLst>
              <a:ext uri="{FF2B5EF4-FFF2-40B4-BE49-F238E27FC236}">
                <a16:creationId xmlns:a16="http://schemas.microsoft.com/office/drawing/2014/main" id="{A8AC27F8-A10E-8EF7-C649-FBA3E42D9C3A}"/>
              </a:ext>
            </a:extLst>
          </p:cNvPr>
          <p:cNvSpPr/>
          <p:nvPr/>
        </p:nvSpPr>
        <p:spPr>
          <a:xfrm>
            <a:off x="2168016" y="393790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9" name="矢印: 右 68">
            <a:extLst>
              <a:ext uri="{FF2B5EF4-FFF2-40B4-BE49-F238E27FC236}">
                <a16:creationId xmlns:a16="http://schemas.microsoft.com/office/drawing/2014/main" id="{9E123C2B-18C7-6A07-14CB-3930C568F089}"/>
              </a:ext>
            </a:extLst>
          </p:cNvPr>
          <p:cNvSpPr/>
          <p:nvPr/>
        </p:nvSpPr>
        <p:spPr>
          <a:xfrm>
            <a:off x="4371851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9" name="矢印: 右 78">
            <a:extLst>
              <a:ext uri="{FF2B5EF4-FFF2-40B4-BE49-F238E27FC236}">
                <a16:creationId xmlns:a16="http://schemas.microsoft.com/office/drawing/2014/main" id="{E526F67E-5A68-09E3-AFA8-F80CAF3E33B1}"/>
              </a:ext>
            </a:extLst>
          </p:cNvPr>
          <p:cNvSpPr/>
          <p:nvPr/>
        </p:nvSpPr>
        <p:spPr>
          <a:xfrm>
            <a:off x="6541616" y="393305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テキスト ボックス 1">
            <a:extLst>
              <a:ext uri="{FF2B5EF4-FFF2-40B4-BE49-F238E27FC236}">
                <a16:creationId xmlns:a16="http://schemas.microsoft.com/office/drawing/2014/main" id="{E1E63B11-88CA-BFB6-D4C4-16E82D4BA3FF}"/>
              </a:ext>
            </a:extLst>
          </p:cNvPr>
          <p:cNvSpPr txBox="1"/>
          <p:nvPr/>
        </p:nvSpPr>
        <p:spPr>
          <a:xfrm>
            <a:off x="7246886" y="713008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11218719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ドーナツとコーヒー&#10;&#10;自動的に生成された説明">
            <a:extLst>
              <a:ext uri="{FF2B5EF4-FFF2-40B4-BE49-F238E27FC236}">
                <a16:creationId xmlns:a16="http://schemas.microsoft.com/office/drawing/2014/main" id="{6B29BFEA-74F4-55A1-6A6A-BFB07CDA9E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3893" y="2528716"/>
            <a:ext cx="1981219" cy="3519089"/>
          </a:xfrm>
          <a:prstGeom prst="rect">
            <a:avLst/>
          </a:prstGeom>
        </p:spPr>
      </p:pic>
      <p:pic>
        <p:nvPicPr>
          <p:cNvPr id="3" name="図 2" descr="カップに入った飲み物&#10;&#10;自動的に生成された説明">
            <a:extLst>
              <a:ext uri="{FF2B5EF4-FFF2-40B4-BE49-F238E27FC236}">
                <a16:creationId xmlns:a16="http://schemas.microsoft.com/office/drawing/2014/main" id="{56D5EFAA-EDBA-4EA6-44DD-16F321996E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50362" y="2531236"/>
            <a:ext cx="1981254" cy="3514049"/>
          </a:xfrm>
          <a:prstGeom prst="rect">
            <a:avLst/>
          </a:prstGeom>
        </p:spPr>
      </p:pic>
      <p:pic>
        <p:nvPicPr>
          <p:cNvPr id="5" name="図 4" descr="屋内, 食品, 写真, 探す が含まれている画像&#10;&#10;自動的に生成された説明">
            <a:extLst>
              <a:ext uri="{FF2B5EF4-FFF2-40B4-BE49-F238E27FC236}">
                <a16:creationId xmlns:a16="http://schemas.microsoft.com/office/drawing/2014/main" id="{4BF5EE28-1929-9C66-ACB8-981C55CDCB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718" y="2534355"/>
            <a:ext cx="1981078" cy="3507811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kumimoji="0" lang="ja-JP" altLang="en-US" kern="0" dirty="0"/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sp>
        <p:nvSpPr>
          <p:cNvPr id="24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351" y="1427121"/>
            <a:ext cx="7992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。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1835695" y="3846230"/>
            <a:ext cx="676843" cy="68131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23608" y="1831901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2" name="図形グループ 71"/>
          <p:cNvGrpSpPr/>
          <p:nvPr/>
        </p:nvGrpSpPr>
        <p:grpSpPr>
          <a:xfrm>
            <a:off x="5841407" y="5403591"/>
            <a:ext cx="296586" cy="293005"/>
            <a:chOff x="4232441" y="3995693"/>
            <a:chExt cx="296586" cy="293005"/>
          </a:xfrm>
        </p:grpSpPr>
        <p:sp>
          <p:nvSpPr>
            <p:cNvPr id="73" name="円/楕円 72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4" name="フリーフォーム 73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0DE75BA5-F348-6EDA-ED87-EC49561E098A}"/>
              </a:ext>
            </a:extLst>
          </p:cNvPr>
          <p:cNvGrpSpPr/>
          <p:nvPr/>
        </p:nvGrpSpPr>
        <p:grpSpPr>
          <a:xfrm>
            <a:off x="3496459" y="2546217"/>
            <a:ext cx="1867629" cy="3573952"/>
            <a:chOff x="3173457" y="2546217"/>
            <a:chExt cx="1867629" cy="3573952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6A963794-1D24-43C5-3971-6765B8868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173457" y="2546217"/>
              <a:ext cx="280011" cy="95440"/>
            </a:xfrm>
            <a:prstGeom prst="rect">
              <a:avLst/>
            </a:prstGeom>
          </p:spPr>
        </p:pic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BD7B8115-1923-40C8-B4EE-4A3B07578796}"/>
                </a:ext>
              </a:extLst>
            </p:cNvPr>
            <p:cNvSpPr/>
            <p:nvPr/>
          </p:nvSpPr>
          <p:spPr>
            <a:xfrm>
              <a:off x="4682108" y="5728129"/>
              <a:ext cx="358978" cy="39204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5" name="図形グループ 74"/>
            <p:cNvGrpSpPr/>
            <p:nvPr/>
          </p:nvGrpSpPr>
          <p:grpSpPr>
            <a:xfrm>
              <a:off x="4351948" y="5426717"/>
              <a:ext cx="296586" cy="293005"/>
              <a:chOff x="3546641" y="3995693"/>
              <a:chExt cx="296586" cy="293005"/>
            </a:xfrm>
          </p:grpSpPr>
          <p:sp>
            <p:nvSpPr>
              <p:cNvPr id="76" name="円/楕円 75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7" name="フリーフォーム 76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8C2CB3E9-E438-3658-A062-9E10D24909D8}"/>
              </a:ext>
            </a:extLst>
          </p:cNvPr>
          <p:cNvSpPr txBox="1"/>
          <p:nvPr/>
        </p:nvSpPr>
        <p:spPr>
          <a:xfrm>
            <a:off x="755576" y="1869239"/>
            <a:ext cx="16500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拡大表示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C321859-4B6A-BBE6-FEDF-62D0122BC2ED}"/>
              </a:ext>
            </a:extLst>
          </p:cNvPr>
          <p:cNvSpPr txBox="1"/>
          <p:nvPr/>
        </p:nvSpPr>
        <p:spPr>
          <a:xfrm>
            <a:off x="2762073" y="1869239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5000"/>
              </a:lnSpc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3D86231F-DCAF-A603-C91D-D3588FDD1735}"/>
              </a:ext>
            </a:extLst>
          </p:cNvPr>
          <p:cNvSpPr txBox="1"/>
          <p:nvPr/>
        </p:nvSpPr>
        <p:spPr>
          <a:xfrm>
            <a:off x="3258467" y="2005586"/>
            <a:ext cx="22286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マークを押す</a:t>
            </a:r>
          </a:p>
        </p:txBody>
      </p:sp>
      <p:pic>
        <p:nvPicPr>
          <p:cNvPr id="20" name="図 19">
            <a:extLst>
              <a:ext uri="{FF2B5EF4-FFF2-40B4-BE49-F238E27FC236}">
                <a16:creationId xmlns:a16="http://schemas.microsoft.com/office/drawing/2014/main" id="{C7164550-6787-93D1-7B0D-910D77E977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20689" y="2546218"/>
            <a:ext cx="280011" cy="95440"/>
          </a:xfrm>
          <a:prstGeom prst="rect">
            <a:avLst/>
          </a:prstGeom>
        </p:spPr>
      </p:pic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5FE452ED-BA63-E58B-6A9F-56DC24E5F8A5}"/>
              </a:ext>
            </a:extLst>
          </p:cNvPr>
          <p:cNvSpPr/>
          <p:nvPr/>
        </p:nvSpPr>
        <p:spPr>
          <a:xfrm>
            <a:off x="6168325" y="5651480"/>
            <a:ext cx="1997556" cy="39204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6553F9DD-6C00-B451-1411-9882778DA424}"/>
              </a:ext>
            </a:extLst>
          </p:cNvPr>
          <p:cNvSpPr txBox="1"/>
          <p:nvPr/>
        </p:nvSpPr>
        <p:spPr>
          <a:xfrm>
            <a:off x="5724208" y="1889872"/>
            <a:ext cx="720000" cy="609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7EADB5C3-3717-8A47-15DC-C1816265C51E}"/>
              </a:ext>
            </a:extLst>
          </p:cNvPr>
          <p:cNvSpPr txBox="1"/>
          <p:nvPr/>
        </p:nvSpPr>
        <p:spPr>
          <a:xfrm>
            <a:off x="6156176" y="1893456"/>
            <a:ext cx="2092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を削除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sp>
        <p:nvSpPr>
          <p:cNvPr id="35" name="矢印: 右 34">
            <a:extLst>
              <a:ext uri="{FF2B5EF4-FFF2-40B4-BE49-F238E27FC236}">
                <a16:creationId xmlns:a16="http://schemas.microsoft.com/office/drawing/2014/main" id="{A7B1BCC2-66C1-02C6-9DC7-2A8C5F066122}"/>
              </a:ext>
            </a:extLst>
          </p:cNvPr>
          <p:cNvSpPr/>
          <p:nvPr/>
        </p:nvSpPr>
        <p:spPr>
          <a:xfrm>
            <a:off x="2574522" y="3906062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7" name="矢印: 右 36">
            <a:extLst>
              <a:ext uri="{FF2B5EF4-FFF2-40B4-BE49-F238E27FC236}">
                <a16:creationId xmlns:a16="http://schemas.microsoft.com/office/drawing/2014/main" id="{BB624B3D-6450-DFC6-C37D-9CED2A561265}"/>
              </a:ext>
            </a:extLst>
          </p:cNvPr>
          <p:cNvSpPr/>
          <p:nvPr/>
        </p:nvSpPr>
        <p:spPr>
          <a:xfrm>
            <a:off x="5407324" y="3906061"/>
            <a:ext cx="676844" cy="452669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854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矢印: 右 4">
            <a:extLst>
              <a:ext uri="{FF2B5EF4-FFF2-40B4-BE49-F238E27FC236}">
                <a16:creationId xmlns:a16="http://schemas.microsoft.com/office/drawing/2014/main" id="{D9D755D4-990E-7B50-3ECB-FBA742ADE95D}"/>
              </a:ext>
            </a:extLst>
          </p:cNvPr>
          <p:cNvSpPr/>
          <p:nvPr/>
        </p:nvSpPr>
        <p:spPr>
          <a:xfrm>
            <a:off x="5722068" y="3909544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15012" y="1964478"/>
            <a:ext cx="2844000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を起動し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カメラの枠内に映しこみ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ピントを合わせる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39" name="図 38" descr="目的のリンク先が表示された画面の画像">
            <a:extLst>
              <a:ext uri="{FF2B5EF4-FFF2-40B4-BE49-F238E27FC236}">
                <a16:creationId xmlns:a16="http://schemas.microsoft.com/office/drawing/2014/main" id="{BB23503F-6CFA-48BB-9B7C-BB93C47CA42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432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633070" y="1924029"/>
            <a:ext cx="2700000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目的のページ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見ることが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77507" y="186604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7864" y="180024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5276101" cy="426913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ja-JP" altLang="en-US" dirty="0"/>
              <a:t>カメラで</a:t>
            </a:r>
            <a:r>
              <a:rPr lang="en-US" altLang="ja-JP" dirty="0"/>
              <a:t>QR</a:t>
            </a:r>
            <a:r>
              <a:rPr lang="ja-JP" altLang="en-US" dirty="0"/>
              <a:t>コードを読み取れます。</a:t>
            </a:r>
          </a:p>
        </p:txBody>
      </p:sp>
      <p:grpSp>
        <p:nvGrpSpPr>
          <p:cNvPr id="2" name="グループ化 1" descr="「カメラ」の画面でQRコードを読み込んでいる画像">
            <a:extLst>
              <a:ext uri="{FF2B5EF4-FFF2-40B4-BE49-F238E27FC236}">
                <a16:creationId xmlns:a16="http://schemas.microsoft.com/office/drawing/2014/main" id="{1894D80B-AB50-434B-9CA8-024B513000D7}"/>
              </a:ext>
            </a:extLst>
          </p:cNvPr>
          <p:cNvGrpSpPr/>
          <p:nvPr/>
        </p:nvGrpSpPr>
        <p:grpSpPr>
          <a:xfrm>
            <a:off x="3779912" y="2727764"/>
            <a:ext cx="1800000" cy="3365532"/>
            <a:chOff x="982696" y="2933930"/>
            <a:chExt cx="1800000" cy="3201600"/>
          </a:xfrm>
        </p:grpSpPr>
        <p:pic>
          <p:nvPicPr>
            <p:cNvPr id="37" name="図 36" descr="QR コード&#10;&#10;中程度の精度で自動的に生成された説明">
              <a:extLst>
                <a:ext uri="{FF2B5EF4-FFF2-40B4-BE49-F238E27FC236}">
                  <a16:creationId xmlns:a16="http://schemas.microsoft.com/office/drawing/2014/main" id="{63369BFF-6CC5-4325-BC6A-8761CC7C7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2696" y="2933930"/>
              <a:ext cx="1800000" cy="32016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43" name="正方形/長方形 42"/>
            <p:cNvSpPr>
              <a:spLocks/>
            </p:cNvSpPr>
            <p:nvPr/>
          </p:nvSpPr>
          <p:spPr>
            <a:xfrm>
              <a:off x="1447122" y="4898102"/>
              <a:ext cx="1044000" cy="216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 rad="254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97" name="図 96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2176893" y="4957417"/>
              <a:ext cx="473301" cy="540000"/>
            </a:xfrm>
            <a:prstGeom prst="rect">
              <a:avLst/>
            </a:prstGeom>
          </p:spPr>
        </p:pic>
      </p:grpSp>
      <p:pic>
        <p:nvPicPr>
          <p:cNvPr id="12" name="図 11" descr="QR コード&#10;&#10;中程度の精度で自動的に生成された説明">
            <a:extLst>
              <a:ext uri="{FF2B5EF4-FFF2-40B4-BE49-F238E27FC236}">
                <a16:creationId xmlns:a16="http://schemas.microsoft.com/office/drawing/2014/main" id="{6E0BF757-190C-F122-1995-2DBE1C1EE9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727764"/>
            <a:ext cx="1800000" cy="33655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BD005E86-D1FD-E51B-5D41-A80259EEF899}"/>
              </a:ext>
            </a:extLst>
          </p:cNvPr>
          <p:cNvSpPr>
            <a:spLocks noChangeAspect="1"/>
          </p:cNvSpPr>
          <p:nvPr/>
        </p:nvSpPr>
        <p:spPr>
          <a:xfrm>
            <a:off x="1522769" y="4243178"/>
            <a:ext cx="563293" cy="563293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6" name="図形グループ 34">
            <a:extLst>
              <a:ext uri="{FF2B5EF4-FFF2-40B4-BE49-F238E27FC236}">
                <a16:creationId xmlns:a16="http://schemas.microsoft.com/office/drawing/2014/main" id="{191DCAB9-A000-D0B0-2686-69092B8B5D71}"/>
              </a:ext>
            </a:extLst>
          </p:cNvPr>
          <p:cNvGrpSpPr/>
          <p:nvPr/>
        </p:nvGrpSpPr>
        <p:grpSpPr>
          <a:xfrm>
            <a:off x="3989061" y="4509704"/>
            <a:ext cx="296586" cy="293005"/>
            <a:chOff x="3546641" y="3995693"/>
            <a:chExt cx="296586" cy="293005"/>
          </a:xfrm>
        </p:grpSpPr>
        <p:sp>
          <p:nvSpPr>
            <p:cNvPr id="21" name="円/楕円 54">
              <a:extLst>
                <a:ext uri="{FF2B5EF4-FFF2-40B4-BE49-F238E27FC236}">
                  <a16:creationId xmlns:a16="http://schemas.microsoft.com/office/drawing/2014/main" id="{EAB38E47-8BEF-676E-3E78-364B65F950A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55">
              <a:extLst>
                <a:ext uri="{FF2B5EF4-FFF2-40B4-BE49-F238E27FC236}">
                  <a16:creationId xmlns:a16="http://schemas.microsoft.com/office/drawing/2014/main" id="{67E6AB44-477D-2CBC-85EB-DA5659D13379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6">
            <a:extLst>
              <a:ext uri="{FF2B5EF4-FFF2-40B4-BE49-F238E27FC236}">
                <a16:creationId xmlns:a16="http://schemas.microsoft.com/office/drawing/2014/main" id="{2755EE5A-5892-9A6E-6780-9F8D2353937F}"/>
              </a:ext>
            </a:extLst>
          </p:cNvPr>
          <p:cNvGrpSpPr/>
          <p:nvPr/>
        </p:nvGrpSpPr>
        <p:grpSpPr>
          <a:xfrm>
            <a:off x="1318190" y="3950173"/>
            <a:ext cx="296587" cy="293005"/>
            <a:chOff x="2897417" y="3995693"/>
            <a:chExt cx="296587" cy="293005"/>
          </a:xfrm>
        </p:grpSpPr>
        <p:sp>
          <p:nvSpPr>
            <p:cNvPr id="18" name="円/楕円 57">
              <a:extLst>
                <a:ext uri="{FF2B5EF4-FFF2-40B4-BE49-F238E27FC236}">
                  <a16:creationId xmlns:a16="http://schemas.microsoft.com/office/drawing/2014/main" id="{A17B6843-4CE0-10B1-75C6-F2B905D5E36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テキスト ボックス 18">
              <a:extLst>
                <a:ext uri="{FF2B5EF4-FFF2-40B4-BE49-F238E27FC236}">
                  <a16:creationId xmlns:a16="http://schemas.microsoft.com/office/drawing/2014/main" id="{9B660AAF-451E-E308-4587-F7D49D709D23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3F7321E8-F054-1AE4-BBCE-125DCB4E92FC}"/>
              </a:ext>
            </a:extLst>
          </p:cNvPr>
          <p:cNvSpPr txBox="1"/>
          <p:nvPr/>
        </p:nvSpPr>
        <p:spPr>
          <a:xfrm>
            <a:off x="3862390" y="1928315"/>
            <a:ext cx="2254476" cy="763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込みが成功す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下に黄色の表示が出るので押す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CA93F90D-C56E-6C9E-DD3F-D7D4F6A31987}"/>
              </a:ext>
            </a:extLst>
          </p:cNvPr>
          <p:cNvSpPr txBox="1"/>
          <p:nvPr/>
        </p:nvSpPr>
        <p:spPr>
          <a:xfrm>
            <a:off x="6170826" y="1902972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矢印: 右 5">
            <a:extLst>
              <a:ext uri="{FF2B5EF4-FFF2-40B4-BE49-F238E27FC236}">
                <a16:creationId xmlns:a16="http://schemas.microsoft.com/office/drawing/2014/main" id="{0654DF7B-D7B5-E25E-B8B6-4566F5C53011}"/>
              </a:ext>
            </a:extLst>
          </p:cNvPr>
          <p:cNvSpPr/>
          <p:nvPr/>
        </p:nvSpPr>
        <p:spPr>
          <a:xfrm>
            <a:off x="2774709" y="3895166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560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90311" y="3425785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58862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．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連絡先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1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Ｅ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9</a:t>
            </a:r>
            <a:endParaRPr lang="ja-JP" altLang="en-US" b="1" dirty="0">
              <a:latin typeface="Meiryo"/>
              <a:ea typeface="Meiryo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95250" algn="dist">
              <a:spcAft>
                <a:spcPts val="300"/>
              </a:spcAft>
              <a:tabLst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G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に残っていた通話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1</a:t>
            </a:r>
          </a:p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．カメラの使い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写真を撮ろ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3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4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5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D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7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2-E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写真の削除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8</a:t>
            </a:r>
          </a:p>
          <a:p>
            <a:pPr marL="95250" algn="dist">
              <a:spcAft>
                <a:spcPts val="300"/>
              </a:spcAft>
              <a:tabLst>
                <a:tab pos="84138" algn="l"/>
                <a:tab pos="531813" algn="l"/>
                <a:tab pos="1063625" algn="l"/>
              </a:tabLst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F	QR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コードの読み取り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9</a:t>
            </a:r>
          </a:p>
          <a:p>
            <a:pPr marL="273050" algn="dist">
              <a:spcAft>
                <a:spcPts val="300"/>
              </a:spcAft>
            </a:pP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うウサギ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ントロールセンターを表示する</a:t>
            </a: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877EE993-2FC0-3991-7B8A-EBA7C506349E}"/>
              </a:ext>
            </a:extLst>
          </p:cNvPr>
          <p:cNvGrpSpPr/>
          <p:nvPr/>
        </p:nvGrpSpPr>
        <p:grpSpPr>
          <a:xfrm>
            <a:off x="688235" y="3481267"/>
            <a:ext cx="1495273" cy="2870178"/>
            <a:chOff x="963093" y="2708920"/>
            <a:chExt cx="1683367" cy="3456000"/>
          </a:xfrm>
        </p:grpSpPr>
        <p:grpSp>
          <p:nvGrpSpPr>
            <p:cNvPr id="31" name="グループ化 30">
              <a:extLst>
                <a:ext uri="{FF2B5EF4-FFF2-40B4-BE49-F238E27FC236}">
                  <a16:creationId xmlns:a16="http://schemas.microsoft.com/office/drawing/2014/main" id="{F8893F83-B591-451F-75CB-E0BA67645478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44" name="図 43">
                <a:extLst>
                  <a:ext uri="{FF2B5EF4-FFF2-40B4-BE49-F238E27FC236}">
                    <a16:creationId xmlns:a16="http://schemas.microsoft.com/office/drawing/2014/main" id="{5412600B-A2EF-8625-7FB5-5BEDAA3CCC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06FD696C-280C-31E1-2E6F-BF5F4B754D25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32" name="グループ化 31">
              <a:extLst>
                <a:ext uri="{FF2B5EF4-FFF2-40B4-BE49-F238E27FC236}">
                  <a16:creationId xmlns:a16="http://schemas.microsoft.com/office/drawing/2014/main" id="{61C4D5D5-C750-F44C-B9CA-BAD9BB5874BA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33" name="図 32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61171F53-7FE1-D094-A205-F44F773F6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34" name="図 33">
                <a:extLst>
                  <a:ext uri="{FF2B5EF4-FFF2-40B4-BE49-F238E27FC236}">
                    <a16:creationId xmlns:a16="http://schemas.microsoft.com/office/drawing/2014/main" id="{377623FE-DF30-B99A-D156-C34E0D7BD2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sp>
        <p:nvSpPr>
          <p:cNvPr id="46" name="上矢印 41">
            <a:extLst>
              <a:ext uri="{FF2B5EF4-FFF2-40B4-BE49-F238E27FC236}">
                <a16:creationId xmlns:a16="http://schemas.microsoft.com/office/drawing/2014/main" id="{9E5C7229-8849-FC43-118E-138B22740132}"/>
              </a:ext>
            </a:extLst>
          </p:cNvPr>
          <p:cNvSpPr>
            <a:spLocks/>
          </p:cNvSpPr>
          <p:nvPr/>
        </p:nvSpPr>
        <p:spPr>
          <a:xfrm>
            <a:off x="1107106" y="4477726"/>
            <a:ext cx="631902" cy="1548000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0" name="図 59">
            <a:extLst>
              <a:ext uri="{FF2B5EF4-FFF2-40B4-BE49-F238E27FC236}">
                <a16:creationId xmlns:a16="http://schemas.microsoft.com/office/drawing/2014/main" id="{E3F2BFAC-34E3-1CCF-2D4F-A974DA83BEF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565281" y="5530624"/>
            <a:ext cx="473301" cy="540000"/>
          </a:xfrm>
          <a:prstGeom prst="rect">
            <a:avLst/>
          </a:prstGeom>
        </p:spPr>
      </p:pic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12381" y="3193360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63" name="図 62" descr="ホーム画面の画像">
            <a:extLst>
              <a:ext uri="{FF2B5EF4-FFF2-40B4-BE49-F238E27FC236}">
                <a16:creationId xmlns:a16="http://schemas.microsoft.com/office/drawing/2014/main" id="{8A744AFA-6B59-7EC7-C211-FD8EA386768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763" y="3430589"/>
            <a:ext cx="1622629" cy="2950739"/>
          </a:xfrm>
          <a:prstGeom prst="rect">
            <a:avLst/>
          </a:prstGeom>
        </p:spPr>
      </p:pic>
      <p:sp>
        <p:nvSpPr>
          <p:cNvPr id="65" name="上矢印 41">
            <a:extLst>
              <a:ext uri="{FF2B5EF4-FFF2-40B4-BE49-F238E27FC236}">
                <a16:creationId xmlns:a16="http://schemas.microsoft.com/office/drawing/2014/main" id="{EFAAFACD-692D-66E8-D1C2-8A881BB0C4DA}"/>
              </a:ext>
            </a:extLst>
          </p:cNvPr>
          <p:cNvSpPr>
            <a:spLocks/>
          </p:cNvSpPr>
          <p:nvPr/>
        </p:nvSpPr>
        <p:spPr>
          <a:xfrm flipV="1">
            <a:off x="3753518" y="3547655"/>
            <a:ext cx="447479" cy="1121704"/>
          </a:xfrm>
          <a:prstGeom prst="upArrow">
            <a:avLst/>
          </a:prstGeom>
          <a:solidFill>
            <a:srgbClr val="00965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9" name="図 68">
            <a:extLst>
              <a:ext uri="{FF2B5EF4-FFF2-40B4-BE49-F238E27FC236}">
                <a16:creationId xmlns:a16="http://schemas.microsoft.com/office/drawing/2014/main" id="{8681E176-5AA9-52F7-32F4-05F2B937855D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010607" y="3623719"/>
            <a:ext cx="473301" cy="540000"/>
          </a:xfrm>
          <a:prstGeom prst="rect">
            <a:avLst/>
          </a:prstGeom>
        </p:spPr>
      </p:pic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8FE51609-B606-270E-8DAF-EC378CDD4AAB}"/>
              </a:ext>
            </a:extLst>
          </p:cNvPr>
          <p:cNvSpPr txBox="1"/>
          <p:nvPr/>
        </p:nvSpPr>
        <p:spPr>
          <a:xfrm>
            <a:off x="278413" y="3040766"/>
            <a:ext cx="22365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ある機種］</a:t>
            </a:r>
          </a:p>
        </p:txBody>
      </p:sp>
      <p:sp>
        <p:nvSpPr>
          <p:cNvPr id="78" name="テキスト ボックス 77">
            <a:extLst>
              <a:ext uri="{FF2B5EF4-FFF2-40B4-BE49-F238E27FC236}">
                <a16:creationId xmlns:a16="http://schemas.microsoft.com/office/drawing/2014/main" id="{6B4BE492-25CB-A841-7CD8-101BA5D8B5D0}"/>
              </a:ext>
            </a:extLst>
          </p:cNvPr>
          <p:cNvSpPr txBox="1"/>
          <p:nvPr/>
        </p:nvSpPr>
        <p:spPr>
          <a:xfrm>
            <a:off x="2485770" y="3036616"/>
            <a:ext cx="2185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［ホームボタンの無い機種］</a:t>
            </a:r>
          </a:p>
        </p:txBody>
      </p:sp>
      <p:pic>
        <p:nvPicPr>
          <p:cNvPr id="80" name="図 79">
            <a:extLst>
              <a:ext uri="{FF2B5EF4-FFF2-40B4-BE49-F238E27FC236}">
                <a16:creationId xmlns:a16="http://schemas.microsoft.com/office/drawing/2014/main" id="{6BD2F585-0BC5-2E06-7B5C-7B93BDA528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61442" y="2854961"/>
            <a:ext cx="1860747" cy="3492208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のマークを押す</a:t>
            </a:r>
          </a:p>
        </p:txBody>
      </p:sp>
      <p:sp>
        <p:nvSpPr>
          <p:cNvPr id="87" name="正方形/長方形 86">
            <a:extLst>
              <a:ext uri="{FF2B5EF4-FFF2-40B4-BE49-F238E27FC236}">
                <a16:creationId xmlns:a16="http://schemas.microsoft.com/office/drawing/2014/main" id="{7A543562-3C4E-EBC0-7566-7B24757C80AD}"/>
              </a:ext>
            </a:extLst>
          </p:cNvPr>
          <p:cNvSpPr/>
          <p:nvPr/>
        </p:nvSpPr>
        <p:spPr>
          <a:xfrm>
            <a:off x="6093584" y="5099573"/>
            <a:ext cx="388428" cy="411952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2A8C7268-CB32-B55E-7A0D-969371DADC66}"/>
              </a:ext>
            </a:extLst>
          </p:cNvPr>
          <p:cNvSpPr txBox="1"/>
          <p:nvPr/>
        </p:nvSpPr>
        <p:spPr>
          <a:xfrm>
            <a:off x="5496360" y="477030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93" name="直線コネクタ 92">
            <a:extLst>
              <a:ext uri="{FF2B5EF4-FFF2-40B4-BE49-F238E27FC236}">
                <a16:creationId xmlns:a16="http://schemas.microsoft.com/office/drawing/2014/main" id="{7C50BEB4-BE6B-0872-1B09-49B1E574DCB3}"/>
              </a:ext>
            </a:extLst>
          </p:cNvPr>
          <p:cNvCxnSpPr>
            <a:cxnSpLocks/>
          </p:cNvCxnSpPr>
          <p:nvPr/>
        </p:nvCxnSpPr>
        <p:spPr>
          <a:xfrm flipH="1">
            <a:off x="2430746" y="2854961"/>
            <a:ext cx="27587" cy="3598195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矢印: 右 95">
            <a:extLst>
              <a:ext uri="{FF2B5EF4-FFF2-40B4-BE49-F238E27FC236}">
                <a16:creationId xmlns:a16="http://schemas.microsoft.com/office/drawing/2014/main" id="{1110070C-C4F7-C605-BEB9-34BFF0CC0469}"/>
              </a:ext>
            </a:extLst>
          </p:cNvPr>
          <p:cNvSpPr/>
          <p:nvPr/>
        </p:nvSpPr>
        <p:spPr>
          <a:xfrm>
            <a:off x="4442484" y="419709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" name="矢印: 右 1">
            <a:extLst>
              <a:ext uri="{FF2B5EF4-FFF2-40B4-BE49-F238E27FC236}">
                <a16:creationId xmlns:a16="http://schemas.microsoft.com/office/drawing/2014/main" id="{A419A2DB-2A62-3E66-EF6A-C4470D7413B4}"/>
              </a:ext>
            </a:extLst>
          </p:cNvPr>
          <p:cNvSpPr/>
          <p:nvPr/>
        </p:nvSpPr>
        <p:spPr>
          <a:xfrm>
            <a:off x="7763653" y="419709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061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  <a:endParaRPr lang="en-US" sz="3600" dirty="0"/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8001" y="200665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46820" y="2091716"/>
            <a:ext cx="327575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たい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QR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コードを真ん中の白枠の中にピントが合うように映しこむ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73960" y="196886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カメラの使い方</a:t>
            </a:r>
            <a:br>
              <a:rPr kumimoji="0" lang="ja-JP" altLang="en-US" sz="2000" kern="0" dirty="0"/>
            </a:br>
            <a:r>
              <a:rPr lang="en-US" altLang="ja-JP" dirty="0"/>
              <a:t>QR</a:t>
            </a:r>
            <a:r>
              <a:rPr lang="ja-JP" altLang="en-US" dirty="0"/>
              <a:t>コードの読み取り</a:t>
            </a:r>
          </a:p>
        </p:txBody>
      </p:sp>
      <p:sp>
        <p:nvSpPr>
          <p:cNvPr id="41" name="字幕 5">
            <a:extLst>
              <a:ext uri="{FF2B5EF4-FFF2-40B4-BE49-F238E27FC236}">
                <a16:creationId xmlns:a16="http://schemas.microsoft.com/office/drawing/2014/main" id="{94A1A83E-70F1-4E9E-BC96-33D84770CD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3699" y="1433704"/>
            <a:ext cx="4352771" cy="436146"/>
          </a:xfrm>
        </p:spPr>
        <p:txBody>
          <a:bodyPr wrap="none" lIns="90000" tIns="46800" rIns="90000" bIns="46800">
            <a:sp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読み取りの別の方法</a:t>
            </a:r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E3DFF2DA-34C6-1F85-AC7B-4B94F9B2FA85}"/>
              </a:ext>
            </a:extLst>
          </p:cNvPr>
          <p:cNvSpPr txBox="1"/>
          <p:nvPr/>
        </p:nvSpPr>
        <p:spPr>
          <a:xfrm>
            <a:off x="3996015" y="3007506"/>
            <a:ext cx="360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右</a:t>
            </a:r>
          </a:p>
        </p:txBody>
      </p:sp>
      <p:pic>
        <p:nvPicPr>
          <p:cNvPr id="75" name="図 74" descr="テキスト が含まれている画像&#10;&#10;自動的に生成された説明">
            <a:extLst>
              <a:ext uri="{FF2B5EF4-FFF2-40B4-BE49-F238E27FC236}">
                <a16:creationId xmlns:a16="http://schemas.microsoft.com/office/drawing/2014/main" id="{C19A74F9-C54F-5E73-3D5E-258A999577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1666" y="3021329"/>
            <a:ext cx="1831754" cy="3258080"/>
          </a:xfrm>
          <a:prstGeom prst="rect">
            <a:avLst/>
          </a:prstGeom>
        </p:spPr>
      </p:pic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BE24E6E3-0E3D-589F-C878-EAFE6DA594E3}"/>
              </a:ext>
            </a:extLst>
          </p:cNvPr>
          <p:cNvSpPr txBox="1"/>
          <p:nvPr/>
        </p:nvSpPr>
        <p:spPr>
          <a:xfrm>
            <a:off x="5587563" y="2101203"/>
            <a:ext cx="3275759" cy="5416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取りが成功すると自動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ページが移動します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80A0A22-4E13-7D3C-B219-A6794A08B8DC}"/>
              </a:ext>
            </a:extLst>
          </p:cNvPr>
          <p:cNvSpPr/>
          <p:nvPr/>
        </p:nvSpPr>
        <p:spPr>
          <a:xfrm>
            <a:off x="1705185" y="3960402"/>
            <a:ext cx="1426844" cy="1394677"/>
          </a:xfrm>
          <a:prstGeom prst="rect">
            <a:avLst/>
          </a:prstGeom>
          <a:noFill/>
          <a:ln w="19050">
            <a:solidFill>
              <a:srgbClr val="00965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5" name="図 24" descr="QR コード&#10;&#10;自動的に生成された説明">
            <a:extLst>
              <a:ext uri="{FF2B5EF4-FFF2-40B4-BE49-F238E27FC236}">
                <a16:creationId xmlns:a16="http://schemas.microsoft.com/office/drawing/2014/main" id="{7414C344-C782-4FE8-6B5B-F86A22DCAB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93467" y="4234843"/>
            <a:ext cx="778333" cy="778333"/>
          </a:xfrm>
          <a:prstGeom prst="rect">
            <a:avLst/>
          </a:prstGeom>
        </p:spPr>
      </p:pic>
      <p:pic>
        <p:nvPicPr>
          <p:cNvPr id="72" name="図 71" descr="QR コード&#10;&#10;自動的に生成された説明">
            <a:extLst>
              <a:ext uri="{FF2B5EF4-FFF2-40B4-BE49-F238E27FC236}">
                <a16:creationId xmlns:a16="http://schemas.microsoft.com/office/drawing/2014/main" id="{8EF69734-3AF9-771A-175C-EF5902F2FC3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061" b="8373"/>
          <a:stretch/>
        </p:blipFill>
        <p:spPr>
          <a:xfrm>
            <a:off x="5868144" y="3021338"/>
            <a:ext cx="1865768" cy="325807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9" name="矢印: 右 78">
            <a:extLst>
              <a:ext uri="{FF2B5EF4-FFF2-40B4-BE49-F238E27FC236}">
                <a16:creationId xmlns:a16="http://schemas.microsoft.com/office/drawing/2014/main" id="{00F6CA32-892D-FCB3-B0B9-670EDA1045B6}"/>
              </a:ext>
            </a:extLst>
          </p:cNvPr>
          <p:cNvSpPr/>
          <p:nvPr/>
        </p:nvSpPr>
        <p:spPr>
          <a:xfrm>
            <a:off x="4276619" y="4186761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1" name="矢印: 右 80">
            <a:extLst>
              <a:ext uri="{FF2B5EF4-FFF2-40B4-BE49-F238E27FC236}">
                <a16:creationId xmlns:a16="http://schemas.microsoft.com/office/drawing/2014/main" id="{1099578F-1810-166E-B63A-10152D178E0C}"/>
              </a:ext>
            </a:extLst>
          </p:cNvPr>
          <p:cNvSpPr/>
          <p:nvPr/>
        </p:nvSpPr>
        <p:spPr>
          <a:xfrm>
            <a:off x="467544" y="4190742"/>
            <a:ext cx="797341" cy="47330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0660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 descr="電子機器 が含まれている画像&#10;&#10;自動的に生成された説明">
            <a:extLst>
              <a:ext uri="{FF2B5EF4-FFF2-40B4-BE49-F238E27FC236}">
                <a16:creationId xmlns:a16="http://schemas.microsoft.com/office/drawing/2014/main" id="{A3DECA1D-E557-7C62-31E0-29925DB74F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4383" y="2698162"/>
            <a:ext cx="1823276" cy="3225370"/>
          </a:xfrm>
          <a:prstGeom prst="rect">
            <a:avLst/>
          </a:prstGeom>
        </p:spPr>
      </p:pic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659813" y="3307065"/>
            <a:ext cx="678661" cy="1321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正方形/長方形 33"/>
          <p:cNvSpPr>
            <a:spLocks noChangeAspect="1"/>
          </p:cNvSpPr>
          <p:nvPr/>
        </p:nvSpPr>
        <p:spPr>
          <a:xfrm>
            <a:off x="7211256" y="5078392"/>
            <a:ext cx="504000" cy="50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92" name="図 9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7479492" y="3520823"/>
            <a:ext cx="473301" cy="540000"/>
          </a:xfrm>
          <a:prstGeom prst="rect">
            <a:avLst/>
          </a:prstGeom>
        </p:spPr>
      </p:pic>
      <p:grpSp>
        <p:nvGrpSpPr>
          <p:cNvPr id="88" name="図形グループ 87"/>
          <p:cNvGrpSpPr/>
          <p:nvPr/>
        </p:nvGrpSpPr>
        <p:grpSpPr>
          <a:xfrm>
            <a:off x="7926554" y="3709149"/>
            <a:ext cx="296586" cy="293005"/>
            <a:chOff x="4232441" y="3995693"/>
            <a:chExt cx="296586" cy="293005"/>
          </a:xfrm>
        </p:grpSpPr>
        <p:sp>
          <p:nvSpPr>
            <p:cNvPr id="89" name="円/楕円 8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フリーフォーム 9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A6C7579E-AAAC-C7B3-3058-88D2EB544249}"/>
              </a:ext>
            </a:extLst>
          </p:cNvPr>
          <p:cNvGrpSpPr/>
          <p:nvPr/>
        </p:nvGrpSpPr>
        <p:grpSpPr>
          <a:xfrm>
            <a:off x="899592" y="2708920"/>
            <a:ext cx="1629837" cy="3284500"/>
            <a:chOff x="963093" y="2708920"/>
            <a:chExt cx="1683367" cy="3456000"/>
          </a:xfrm>
        </p:grpSpPr>
        <p:grpSp>
          <p:nvGrpSpPr>
            <p:cNvPr id="24" name="グループ化 13">
              <a:extLst>
                <a:ext uri="{FF2B5EF4-FFF2-40B4-BE49-F238E27FC236}">
                  <a16:creationId xmlns:a16="http://schemas.microsoft.com/office/drawing/2014/main" id="{C5C60ECB-9786-7584-C1D5-CC2318846C92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8" name="図 27">
                <a:extLst>
                  <a:ext uri="{FF2B5EF4-FFF2-40B4-BE49-F238E27FC236}">
                    <a16:creationId xmlns:a16="http://schemas.microsoft.com/office/drawing/2014/main" id="{304579B2-5DFA-BBDA-7A3D-9375E85D17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9" name="正方形/長方形 28">
                <a:extLst>
                  <a:ext uri="{FF2B5EF4-FFF2-40B4-BE49-F238E27FC236}">
                    <a16:creationId xmlns:a16="http://schemas.microsoft.com/office/drawing/2014/main" id="{98E7B995-F144-3A44-C365-4F1C8650B1FB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0C073D32-5EEC-612A-D00A-834BD777D29B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26" name="図 2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53E51AFD-AA56-BCD1-6B1B-27A4F88818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7" name="図 26">
                <a:extLst>
                  <a:ext uri="{FF2B5EF4-FFF2-40B4-BE49-F238E27FC236}">
                    <a16:creationId xmlns:a16="http://schemas.microsoft.com/office/drawing/2014/main" id="{5A2D54AD-89F2-F398-4A78-5DFA9AE9BB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1D8F878F-A8E5-34A4-14FC-645C17D1D7B4}"/>
              </a:ext>
            </a:extLst>
          </p:cNvPr>
          <p:cNvGrpSpPr/>
          <p:nvPr/>
        </p:nvGrpSpPr>
        <p:grpSpPr>
          <a:xfrm>
            <a:off x="3551037" y="2753830"/>
            <a:ext cx="1776984" cy="3160663"/>
            <a:chOff x="3551037" y="2753830"/>
            <a:chExt cx="1776984" cy="3160663"/>
          </a:xfrm>
        </p:grpSpPr>
        <p:pic>
          <p:nvPicPr>
            <p:cNvPr id="14" name="図 13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D9C5A7DC-29DF-0FCB-9290-7324FF4A2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551037" y="2753830"/>
              <a:ext cx="1776984" cy="316066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A3E98811-BBB7-0DE3-BEDA-7FE0D432E084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番号を入力し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7624" y="5252060"/>
            <a:ext cx="358255" cy="35825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9" name="円/楕円 40">
            <a:extLst>
              <a:ext uri="{FF2B5EF4-FFF2-40B4-BE49-F238E27FC236}">
                <a16:creationId xmlns:a16="http://schemas.microsoft.com/office/drawing/2014/main" id="{6CC81C77-D3A9-48AE-BCA3-620EDEA24FD1}"/>
              </a:ext>
            </a:extLst>
          </p:cNvPr>
          <p:cNvSpPr>
            <a:spLocks noChangeAspect="1"/>
          </p:cNvSpPr>
          <p:nvPr/>
        </p:nvSpPr>
        <p:spPr>
          <a:xfrm>
            <a:off x="4846589" y="4432230"/>
            <a:ext cx="196137" cy="1920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428375" y="193906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下のメニュー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パッド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627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16395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24140" y="1939064"/>
            <a:ext cx="270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押して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入力します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584089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85" name="図形グループ 84"/>
          <p:cNvGrpSpPr/>
          <p:nvPr/>
        </p:nvGrpSpPr>
        <p:grpSpPr>
          <a:xfrm>
            <a:off x="7067042" y="4933285"/>
            <a:ext cx="296586" cy="293005"/>
            <a:chOff x="5101121" y="3995693"/>
            <a:chExt cx="296586" cy="293005"/>
          </a:xfrm>
        </p:grpSpPr>
        <p:sp>
          <p:nvSpPr>
            <p:cNvPr id="86" name="円/楕円 8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フリーフォーム 8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3" name="図形グループ 92"/>
          <p:cNvGrpSpPr/>
          <p:nvPr/>
        </p:nvGrpSpPr>
        <p:grpSpPr>
          <a:xfrm>
            <a:off x="4463974" y="5328828"/>
            <a:ext cx="296586" cy="293005"/>
            <a:chOff x="3546641" y="3995693"/>
            <a:chExt cx="296586" cy="293005"/>
          </a:xfrm>
        </p:grpSpPr>
        <p:sp>
          <p:nvSpPr>
            <p:cNvPr id="94" name="円/楕円 93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5" name="フリーフォーム 94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6" name="図形グループ 95"/>
          <p:cNvGrpSpPr/>
          <p:nvPr/>
        </p:nvGrpSpPr>
        <p:grpSpPr>
          <a:xfrm>
            <a:off x="932185" y="4951961"/>
            <a:ext cx="296587" cy="293005"/>
            <a:chOff x="2897417" y="3995693"/>
            <a:chExt cx="296587" cy="293005"/>
          </a:xfrm>
        </p:grpSpPr>
        <p:sp>
          <p:nvSpPr>
            <p:cNvPr id="97" name="円/楕円 9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8" name="テキスト ボックス 9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70967" y="5897936"/>
            <a:ext cx="2277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発信します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4647252" y="5623245"/>
            <a:ext cx="291600" cy="2916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30956046-B0DF-77B7-9999-4F770A6B82B4}"/>
              </a:ext>
            </a:extLst>
          </p:cNvPr>
          <p:cNvSpPr/>
          <p:nvPr/>
        </p:nvSpPr>
        <p:spPr>
          <a:xfrm>
            <a:off x="6701796" y="2721538"/>
            <a:ext cx="74227" cy="78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80D0BF79-E1A5-B45A-356B-D9A86782F34E}"/>
              </a:ext>
            </a:extLst>
          </p:cNvPr>
          <p:cNvGrpSpPr/>
          <p:nvPr/>
        </p:nvGrpSpPr>
        <p:grpSpPr>
          <a:xfrm>
            <a:off x="6679284" y="2709483"/>
            <a:ext cx="1662421" cy="103699"/>
            <a:chOff x="3665599" y="2744475"/>
            <a:chExt cx="1662421" cy="103699"/>
          </a:xfrm>
        </p:grpSpPr>
        <p:pic>
          <p:nvPicPr>
            <p:cNvPr id="22" name="図 21" descr="グラフ が含まれている画像&#10;&#10;自動的に生成された説明">
              <a:extLst>
                <a:ext uri="{FF2B5EF4-FFF2-40B4-BE49-F238E27FC236}">
                  <a16:creationId xmlns:a16="http://schemas.microsoft.com/office/drawing/2014/main" id="{CB2B6E28-416C-F406-0821-B7C54AAD47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6447" t="-283" b="97002"/>
            <a:stretch/>
          </p:blipFill>
          <p:spPr>
            <a:xfrm>
              <a:off x="3665599" y="2744475"/>
              <a:ext cx="1662421" cy="103699"/>
            </a:xfrm>
            <a:prstGeom prst="rect">
              <a:avLst/>
            </a:prstGeom>
            <a:ln>
              <a:noFill/>
            </a:ln>
          </p:spPr>
        </p:pic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08FE1C39-ED1D-9A73-3433-CD32C6905A15}"/>
                </a:ext>
              </a:extLst>
            </p:cNvPr>
            <p:cNvSpPr/>
            <p:nvPr/>
          </p:nvSpPr>
          <p:spPr>
            <a:xfrm>
              <a:off x="3665600" y="2769451"/>
              <a:ext cx="184608" cy="787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7B6BE74-E7FF-A8E9-D5BE-6CB78E104F11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31" name="矢印: 右 30">
            <a:extLst>
              <a:ext uri="{FF2B5EF4-FFF2-40B4-BE49-F238E27FC236}">
                <a16:creationId xmlns:a16="http://schemas.microsoft.com/office/drawing/2014/main" id="{58AEF84F-EC67-9CDC-A8A3-86F447093F0E}"/>
              </a:ext>
            </a:extLst>
          </p:cNvPr>
          <p:cNvSpPr/>
          <p:nvPr/>
        </p:nvSpPr>
        <p:spPr>
          <a:xfrm>
            <a:off x="2693044" y="3956717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32" name="矢印: 右 31">
            <a:extLst>
              <a:ext uri="{FF2B5EF4-FFF2-40B4-BE49-F238E27FC236}">
                <a16:creationId xmlns:a16="http://schemas.microsoft.com/office/drawing/2014/main" id="{2BC85A14-1E18-4020-EBFF-E32F95C42669}"/>
              </a:ext>
            </a:extLst>
          </p:cNvPr>
          <p:cNvSpPr/>
          <p:nvPr/>
        </p:nvSpPr>
        <p:spPr>
          <a:xfrm>
            <a:off x="5658068" y="392037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DC4192B9-9F54-1736-C2F9-6494CD731194}"/>
              </a:ext>
            </a:extLst>
          </p:cNvPr>
          <p:cNvSpPr txBox="1"/>
          <p:nvPr/>
        </p:nvSpPr>
        <p:spPr>
          <a:xfrm>
            <a:off x="7175410" y="1330907"/>
            <a:ext cx="17281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Phone 8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OS 15.3</a:t>
            </a:r>
          </a:p>
        </p:txBody>
      </p:sp>
    </p:spTree>
    <p:extLst>
      <p:ext uri="{BB962C8B-B14F-4D97-AF65-F5344CB8AC3E}">
        <p14:creationId xmlns:p14="http://schemas.microsoft.com/office/powerpoint/2010/main" val="3460787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図 51" descr="電子機器 が含まれている画像&#10;&#10;自動的に生成された説明">
            <a:extLst>
              <a:ext uri="{FF2B5EF4-FFF2-40B4-BE49-F238E27FC236}">
                <a16:creationId xmlns:a16="http://schemas.microsoft.com/office/drawing/2014/main" id="{B08BD53A-DCAA-F347-2883-F7F0982C74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83989" y="2349323"/>
            <a:ext cx="2272168" cy="3940271"/>
          </a:xfrm>
          <a:prstGeom prst="rect">
            <a:avLst/>
          </a:prstGeom>
        </p:spPr>
      </p:pic>
      <p:pic>
        <p:nvPicPr>
          <p:cNvPr id="48" name="図 47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77548805-E5FA-1290-1234-96E052EB24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40976" y="2349323"/>
            <a:ext cx="2252771" cy="3801724"/>
          </a:xfrm>
          <a:prstGeom prst="rect">
            <a:avLst/>
          </a:prstGeom>
        </p:spPr>
      </p:pic>
      <p:pic>
        <p:nvPicPr>
          <p:cNvPr id="33" name="図 32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343EC77-257B-7C99-806E-93F0BC32EB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892" y="2349323"/>
            <a:ext cx="2236145" cy="3779557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44636" y="1401299"/>
            <a:ext cx="25100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い受話器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すと電話が切れま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012160" y="132787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58675" y="1426034"/>
            <a:ext cx="41328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が繋がると通話時間が表示されま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cxnSp>
        <p:nvCxnSpPr>
          <p:cNvPr id="7" name="直線矢印コネクタ 6"/>
          <p:cNvCxnSpPr/>
          <p:nvPr/>
        </p:nvCxnSpPr>
        <p:spPr>
          <a:xfrm>
            <a:off x="2183920" y="3066421"/>
            <a:ext cx="10440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22B593B1-E8F2-4ED6-A356-F8EE7C8D4712}"/>
              </a:ext>
            </a:extLst>
          </p:cNvPr>
          <p:cNvSpPr txBox="1"/>
          <p:nvPr/>
        </p:nvSpPr>
        <p:spPr>
          <a:xfrm>
            <a:off x="4644009" y="4217072"/>
            <a:ext cx="180062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のアイコンを押すと、音声がスピーカーから出るようになり、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kumimoji="1"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耳から離して電話ができます</a:t>
            </a:r>
          </a:p>
        </p:txBody>
      </p:sp>
      <p:cxnSp>
        <p:nvCxnSpPr>
          <p:cNvPr id="39" name="カギ線コネクタ 39">
            <a:extLst>
              <a:ext uri="{FF2B5EF4-FFF2-40B4-BE49-F238E27FC236}">
                <a16:creationId xmlns:a16="http://schemas.microsoft.com/office/drawing/2014/main" id="{2FD18E1E-0AFF-496C-AD36-4AD3D34B2FDC}"/>
              </a:ext>
            </a:extLst>
          </p:cNvPr>
          <p:cNvCxnSpPr/>
          <p:nvPr/>
        </p:nvCxnSpPr>
        <p:spPr>
          <a:xfrm rot="10800000" flipH="1" flipV="1">
            <a:off x="4443615" y="4011648"/>
            <a:ext cx="648000" cy="180000"/>
          </a:xfrm>
          <a:prstGeom prst="bentConnector3">
            <a:avLst>
              <a:gd name="adj1" fmla="val 98942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矢印: 右 10">
            <a:extLst>
              <a:ext uri="{FF2B5EF4-FFF2-40B4-BE49-F238E27FC236}">
                <a16:creationId xmlns:a16="http://schemas.microsoft.com/office/drawing/2014/main" id="{8BF6347C-6A9C-038F-C11F-9B582AF1F806}"/>
              </a:ext>
            </a:extLst>
          </p:cNvPr>
          <p:cNvSpPr/>
          <p:nvPr/>
        </p:nvSpPr>
        <p:spPr>
          <a:xfrm>
            <a:off x="5058203" y="3221908"/>
            <a:ext cx="1136253" cy="495773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7644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C0804EDE-19F1-1C2C-D0DD-02D68D3AE8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5860" y="2716741"/>
            <a:ext cx="2213040" cy="1347333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951F0766-82D5-CEC3-EEC8-05E4A6CC34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39044" y="2708098"/>
            <a:ext cx="2005758" cy="3481118"/>
          </a:xfrm>
          <a:prstGeom prst="rect">
            <a:avLst/>
          </a:prstGeom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2F0C1FB2-43F5-D07E-6813-3AA6DD5F4EF0}"/>
              </a:ext>
            </a:extLst>
          </p:cNvPr>
          <p:cNvGrpSpPr/>
          <p:nvPr/>
        </p:nvGrpSpPr>
        <p:grpSpPr>
          <a:xfrm>
            <a:off x="886892" y="2708920"/>
            <a:ext cx="1629837" cy="3284500"/>
            <a:chOff x="963093" y="2708920"/>
            <a:chExt cx="1683367" cy="3456000"/>
          </a:xfrm>
        </p:grpSpPr>
        <p:grpSp>
          <p:nvGrpSpPr>
            <p:cNvPr id="17" name="グループ化 13">
              <a:extLst>
                <a:ext uri="{FF2B5EF4-FFF2-40B4-BE49-F238E27FC236}">
                  <a16:creationId xmlns:a16="http://schemas.microsoft.com/office/drawing/2014/main" id="{5A625F42-99A0-8311-79AC-DFDDF9AA70B4}"/>
                </a:ext>
              </a:extLst>
            </p:cNvPr>
            <p:cNvGrpSpPr/>
            <p:nvPr/>
          </p:nvGrpSpPr>
          <p:grpSpPr>
            <a:xfrm>
              <a:off x="963093" y="2708920"/>
              <a:ext cx="1683367" cy="3456000"/>
              <a:chOff x="1108042" y="2746115"/>
              <a:chExt cx="1971823" cy="3943644"/>
            </a:xfrm>
          </p:grpSpPr>
          <p:pic>
            <p:nvPicPr>
              <p:cNvPr id="22" name="図 21">
                <a:extLst>
                  <a:ext uri="{FF2B5EF4-FFF2-40B4-BE49-F238E27FC236}">
                    <a16:creationId xmlns:a16="http://schemas.microsoft.com/office/drawing/2014/main" id="{DCC101D5-1067-49C4-B58B-970B25FC66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23" name="正方形/長方形 22">
                <a:extLst>
                  <a:ext uri="{FF2B5EF4-FFF2-40B4-BE49-F238E27FC236}">
                    <a16:creationId xmlns:a16="http://schemas.microsoft.com/office/drawing/2014/main" id="{8D2A2425-2893-C1BC-E77E-A4C304881454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8" name="グループ化 17">
              <a:extLst>
                <a:ext uri="{FF2B5EF4-FFF2-40B4-BE49-F238E27FC236}">
                  <a16:creationId xmlns:a16="http://schemas.microsoft.com/office/drawing/2014/main" id="{BD9F651E-3D19-A2E2-2661-69134449C634}"/>
                </a:ext>
              </a:extLst>
            </p:cNvPr>
            <p:cNvGrpSpPr/>
            <p:nvPr/>
          </p:nvGrpSpPr>
          <p:grpSpPr>
            <a:xfrm>
              <a:off x="1049783" y="3081990"/>
              <a:ext cx="1486945" cy="2671098"/>
              <a:chOff x="1049783" y="3081990"/>
              <a:chExt cx="1486945" cy="2671098"/>
            </a:xfrm>
          </p:grpSpPr>
          <p:pic>
            <p:nvPicPr>
              <p:cNvPr id="19" name="図 18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1416E42E-5B7D-F60F-906B-DF743C2D09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049783" y="3081990"/>
                <a:ext cx="1486945" cy="2671098"/>
              </a:xfrm>
              <a:prstGeom prst="rect">
                <a:avLst/>
              </a:prstGeom>
            </p:spPr>
          </p:pic>
          <p:pic>
            <p:nvPicPr>
              <p:cNvPr id="21" name="図 20">
                <a:extLst>
                  <a:ext uri="{FF2B5EF4-FFF2-40B4-BE49-F238E27FC236}">
                    <a16:creationId xmlns:a16="http://schemas.microsoft.com/office/drawing/2014/main" id="{11E35B88-DF86-ADF1-CB35-E50943DD11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51909" y="3095450"/>
                <a:ext cx="141356" cy="54658"/>
              </a:xfrm>
              <a:prstGeom prst="rect">
                <a:avLst/>
              </a:prstGeom>
            </p:spPr>
          </p:pic>
        </p:grp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着信履歴を使ってかける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444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いままで来た着信履歴を使って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180350" y="5247326"/>
            <a:ext cx="341914" cy="341914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5" name="正方形/長方形 34"/>
          <p:cNvSpPr/>
          <p:nvPr/>
        </p:nvSpPr>
        <p:spPr>
          <a:xfrm>
            <a:off x="4035347" y="584281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023888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5006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45860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28608" y="4088171"/>
            <a:ext cx="270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かった後は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5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</a:t>
            </a: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同じです</a:t>
            </a:r>
          </a:p>
        </p:txBody>
      </p:sp>
      <p:grpSp>
        <p:nvGrpSpPr>
          <p:cNvPr id="102" name="図形グループ 101"/>
          <p:cNvGrpSpPr/>
          <p:nvPr/>
        </p:nvGrpSpPr>
        <p:grpSpPr>
          <a:xfrm>
            <a:off x="3888971" y="5688868"/>
            <a:ext cx="296586" cy="293005"/>
            <a:chOff x="3546641" y="3995693"/>
            <a:chExt cx="296586" cy="293005"/>
          </a:xfrm>
        </p:grpSpPr>
        <p:sp>
          <p:nvSpPr>
            <p:cNvPr id="103" name="円/楕円 10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フリーフォーム 10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05" name="図形グループ 104"/>
          <p:cNvGrpSpPr/>
          <p:nvPr/>
        </p:nvGrpSpPr>
        <p:grpSpPr>
          <a:xfrm>
            <a:off x="947951" y="5112804"/>
            <a:ext cx="296587" cy="293005"/>
            <a:chOff x="2897417" y="3995693"/>
            <a:chExt cx="296587" cy="293005"/>
          </a:xfrm>
        </p:grpSpPr>
        <p:sp>
          <p:nvSpPr>
            <p:cNvPr id="106" name="円/楕円 10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7" name="テキスト ボックス 10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3E77B952-1F6B-BEAC-FA5D-C28ABAA2702B}"/>
              </a:ext>
            </a:extLst>
          </p:cNvPr>
          <p:cNvSpPr txBox="1"/>
          <p:nvPr/>
        </p:nvSpPr>
        <p:spPr>
          <a:xfrm>
            <a:off x="3496954" y="1929846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歴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(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時計のマーク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)</a:t>
            </a: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56603E1-AC70-D3DC-7030-FDDBBCA13B96}"/>
              </a:ext>
            </a:extLst>
          </p:cNvPr>
          <p:cNvSpPr txBox="1"/>
          <p:nvPr/>
        </p:nvSpPr>
        <p:spPr>
          <a:xfrm>
            <a:off x="729399" y="1939050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電話」アイコン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　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24" name="矢印: 右 23">
            <a:extLst>
              <a:ext uri="{FF2B5EF4-FFF2-40B4-BE49-F238E27FC236}">
                <a16:creationId xmlns:a16="http://schemas.microsoft.com/office/drawing/2014/main" id="{0DCBDA69-A406-7F73-0184-B567230B15AE}"/>
              </a:ext>
            </a:extLst>
          </p:cNvPr>
          <p:cNvSpPr/>
          <p:nvPr/>
        </p:nvSpPr>
        <p:spPr>
          <a:xfrm>
            <a:off x="2843808" y="3356992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5" name="矢印: 右 24">
            <a:extLst>
              <a:ext uri="{FF2B5EF4-FFF2-40B4-BE49-F238E27FC236}">
                <a16:creationId xmlns:a16="http://schemas.microsoft.com/office/drawing/2014/main" id="{32CA8856-D0E0-70A2-84DA-6B82BEB7DB9C}"/>
              </a:ext>
            </a:extLst>
          </p:cNvPr>
          <p:cNvSpPr/>
          <p:nvPr/>
        </p:nvSpPr>
        <p:spPr>
          <a:xfrm>
            <a:off x="5727590" y="3351595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92" name="図 91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7213886" y="3470331"/>
            <a:ext cx="47330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2446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図 28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337E0216-510A-5536-40BF-84E78B6279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965" y="2690595"/>
            <a:ext cx="2025554" cy="3519089"/>
          </a:xfrm>
          <a:prstGeom prst="rect">
            <a:avLst/>
          </a:prstGeom>
        </p:spPr>
      </p:pic>
      <p:pic>
        <p:nvPicPr>
          <p:cNvPr id="26" name="図 25" descr="グラフィカル ユーザー インターフェイス, テキスト, アプリケーション, チャットまたはテキスト メッセージ&#10;&#10;自動的に生成された説明">
            <a:extLst>
              <a:ext uri="{FF2B5EF4-FFF2-40B4-BE49-F238E27FC236}">
                <a16:creationId xmlns:a16="http://schemas.microsoft.com/office/drawing/2014/main" id="{CF0281C0-668E-4091-7F02-7CA64D6B04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95344" y="2723440"/>
            <a:ext cx="2177956" cy="3524631"/>
          </a:xfrm>
          <a:prstGeom prst="rect">
            <a:avLst/>
          </a:prstGeom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3BCC614-3684-61A0-54FF-7585B8EC195F}"/>
              </a:ext>
            </a:extLst>
          </p:cNvPr>
          <p:cNvSpPr/>
          <p:nvPr/>
        </p:nvSpPr>
        <p:spPr>
          <a:xfrm>
            <a:off x="3684750" y="2748840"/>
            <a:ext cx="211561" cy="951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9" name="object 20">
            <a:extLst>
              <a:ext uri="{FF2B5EF4-FFF2-40B4-BE49-F238E27FC236}">
                <a16:creationId xmlns:a16="http://schemas.microsoft.com/office/drawing/2014/main" id="{8A5D6C7B-8C68-41B1-9867-A187C3D6F7C8}"/>
              </a:ext>
            </a:extLst>
          </p:cNvPr>
          <p:cNvSpPr/>
          <p:nvPr/>
        </p:nvSpPr>
        <p:spPr>
          <a:xfrm>
            <a:off x="6598488" y="4038015"/>
            <a:ext cx="276598" cy="133876"/>
          </a:xfrm>
          <a:custGeom>
            <a:avLst/>
            <a:gdLst/>
            <a:ahLst/>
            <a:cxnLst/>
            <a:rect l="l" t="t" r="r" b="b"/>
            <a:pathLst>
              <a:path w="297814" h="144145">
                <a:moveTo>
                  <a:pt x="4900" y="76869"/>
                </a:moveTo>
                <a:lnTo>
                  <a:pt x="0" y="69260"/>
                </a:lnTo>
                <a:lnTo>
                  <a:pt x="8321" y="65279"/>
                </a:lnTo>
                <a:lnTo>
                  <a:pt x="16020" y="61153"/>
                </a:lnTo>
                <a:lnTo>
                  <a:pt x="48434" y="36340"/>
                </a:lnTo>
                <a:lnTo>
                  <a:pt x="64442" y="17264"/>
                </a:lnTo>
                <a:lnTo>
                  <a:pt x="25929" y="17264"/>
                </a:lnTo>
                <a:lnTo>
                  <a:pt x="23738" y="7143"/>
                </a:lnTo>
                <a:lnTo>
                  <a:pt x="66023" y="7143"/>
                </a:lnTo>
                <a:lnTo>
                  <a:pt x="72288" y="1041"/>
                </a:lnTo>
                <a:lnTo>
                  <a:pt x="80184" y="6399"/>
                </a:lnTo>
                <a:lnTo>
                  <a:pt x="84087" y="10141"/>
                </a:lnTo>
                <a:lnTo>
                  <a:pt x="84087" y="13802"/>
                </a:lnTo>
                <a:lnTo>
                  <a:pt x="83462" y="14839"/>
                </a:lnTo>
                <a:lnTo>
                  <a:pt x="82211" y="15465"/>
                </a:lnTo>
                <a:lnTo>
                  <a:pt x="80649" y="16044"/>
                </a:lnTo>
                <a:lnTo>
                  <a:pt x="78781" y="16044"/>
                </a:lnTo>
                <a:lnTo>
                  <a:pt x="78576" y="16137"/>
                </a:lnTo>
                <a:lnTo>
                  <a:pt x="78581" y="16809"/>
                </a:lnTo>
                <a:lnTo>
                  <a:pt x="79421" y="16809"/>
                </a:lnTo>
                <a:lnTo>
                  <a:pt x="82804" y="20835"/>
                </a:lnTo>
                <a:lnTo>
                  <a:pt x="84856" y="23142"/>
                </a:lnTo>
                <a:lnTo>
                  <a:pt x="73319" y="23142"/>
                </a:lnTo>
                <a:lnTo>
                  <a:pt x="67152" y="31907"/>
                </a:lnTo>
                <a:lnTo>
                  <a:pt x="59896" y="40038"/>
                </a:lnTo>
                <a:lnTo>
                  <a:pt x="51489" y="47579"/>
                </a:lnTo>
                <a:lnTo>
                  <a:pt x="42118" y="54396"/>
                </a:lnTo>
                <a:lnTo>
                  <a:pt x="103524" y="54396"/>
                </a:lnTo>
                <a:lnTo>
                  <a:pt x="104159" y="54837"/>
                </a:lnTo>
                <a:lnTo>
                  <a:pt x="108197" y="58330"/>
                </a:lnTo>
                <a:lnTo>
                  <a:pt x="107691" y="59233"/>
                </a:lnTo>
                <a:lnTo>
                  <a:pt x="37116" y="59233"/>
                </a:lnTo>
                <a:lnTo>
                  <a:pt x="30779" y="63849"/>
                </a:lnTo>
                <a:lnTo>
                  <a:pt x="23297" y="68327"/>
                </a:lnTo>
                <a:lnTo>
                  <a:pt x="14671" y="72667"/>
                </a:lnTo>
                <a:lnTo>
                  <a:pt x="4900" y="76869"/>
                </a:lnTo>
                <a:close/>
              </a:path>
              <a:path w="297814" h="144145">
                <a:moveTo>
                  <a:pt x="104851" y="28277"/>
                </a:moveTo>
                <a:lnTo>
                  <a:pt x="89647" y="28277"/>
                </a:lnTo>
                <a:lnTo>
                  <a:pt x="94388" y="23583"/>
                </a:lnTo>
                <a:lnTo>
                  <a:pt x="99161" y="18371"/>
                </a:lnTo>
                <a:lnTo>
                  <a:pt x="103968" y="12644"/>
                </a:lnTo>
                <a:lnTo>
                  <a:pt x="108809" y="6399"/>
                </a:lnTo>
                <a:lnTo>
                  <a:pt x="117926" y="11093"/>
                </a:lnTo>
                <a:lnTo>
                  <a:pt x="122485" y="14764"/>
                </a:lnTo>
                <a:lnTo>
                  <a:pt x="122485" y="19695"/>
                </a:lnTo>
                <a:lnTo>
                  <a:pt x="120969" y="20612"/>
                </a:lnTo>
                <a:lnTo>
                  <a:pt x="113893" y="20612"/>
                </a:lnTo>
                <a:lnTo>
                  <a:pt x="108615" y="25521"/>
                </a:lnTo>
                <a:lnTo>
                  <a:pt x="104851" y="28277"/>
                </a:lnTo>
                <a:close/>
              </a:path>
              <a:path w="297814" h="144145">
                <a:moveTo>
                  <a:pt x="78581" y="16809"/>
                </a:moveTo>
                <a:lnTo>
                  <a:pt x="78576" y="16137"/>
                </a:lnTo>
                <a:lnTo>
                  <a:pt x="78781" y="16044"/>
                </a:lnTo>
                <a:lnTo>
                  <a:pt x="79222" y="16572"/>
                </a:lnTo>
                <a:lnTo>
                  <a:pt x="78581" y="16809"/>
                </a:lnTo>
                <a:close/>
              </a:path>
              <a:path w="297814" h="144145">
                <a:moveTo>
                  <a:pt x="79222" y="16572"/>
                </a:moveTo>
                <a:lnTo>
                  <a:pt x="78781" y="16044"/>
                </a:lnTo>
                <a:lnTo>
                  <a:pt x="80649" y="16044"/>
                </a:lnTo>
                <a:lnTo>
                  <a:pt x="79222" y="16572"/>
                </a:lnTo>
                <a:close/>
              </a:path>
              <a:path w="297814" h="144145">
                <a:moveTo>
                  <a:pt x="79421" y="16809"/>
                </a:moveTo>
                <a:lnTo>
                  <a:pt x="78581" y="16809"/>
                </a:lnTo>
                <a:lnTo>
                  <a:pt x="79222" y="16572"/>
                </a:lnTo>
                <a:lnTo>
                  <a:pt x="79421" y="16809"/>
                </a:lnTo>
                <a:close/>
              </a:path>
              <a:path w="297814" h="144145">
                <a:moveTo>
                  <a:pt x="34188" y="46508"/>
                </a:moveTo>
                <a:lnTo>
                  <a:pt x="30642" y="46508"/>
                </a:lnTo>
                <a:lnTo>
                  <a:pt x="29186" y="45367"/>
                </a:lnTo>
                <a:lnTo>
                  <a:pt x="28373" y="43085"/>
                </a:lnTo>
                <a:lnTo>
                  <a:pt x="25887" y="38118"/>
                </a:lnTo>
                <a:lnTo>
                  <a:pt x="22079" y="33167"/>
                </a:lnTo>
                <a:lnTo>
                  <a:pt x="16947" y="28232"/>
                </a:lnTo>
                <a:lnTo>
                  <a:pt x="10492" y="23313"/>
                </a:lnTo>
                <a:lnTo>
                  <a:pt x="15619" y="16891"/>
                </a:lnTo>
                <a:lnTo>
                  <a:pt x="41225" y="40531"/>
                </a:lnTo>
                <a:lnTo>
                  <a:pt x="40307" y="42268"/>
                </a:lnTo>
                <a:lnTo>
                  <a:pt x="38471" y="43534"/>
                </a:lnTo>
                <a:lnTo>
                  <a:pt x="36098" y="45517"/>
                </a:lnTo>
                <a:lnTo>
                  <a:pt x="34188" y="46508"/>
                </a:lnTo>
                <a:close/>
              </a:path>
              <a:path w="297814" h="144145">
                <a:moveTo>
                  <a:pt x="120600" y="20835"/>
                </a:moveTo>
                <a:lnTo>
                  <a:pt x="115778" y="20835"/>
                </a:lnTo>
                <a:lnTo>
                  <a:pt x="114800" y="20761"/>
                </a:lnTo>
                <a:lnTo>
                  <a:pt x="113893" y="20612"/>
                </a:lnTo>
                <a:lnTo>
                  <a:pt x="120969" y="20612"/>
                </a:lnTo>
                <a:lnTo>
                  <a:pt x="120600" y="20835"/>
                </a:lnTo>
                <a:close/>
              </a:path>
              <a:path w="297814" h="144145">
                <a:moveTo>
                  <a:pt x="123618" y="42267"/>
                </a:moveTo>
                <a:lnTo>
                  <a:pt x="106411" y="42267"/>
                </a:lnTo>
                <a:lnTo>
                  <a:pt x="111386" y="38048"/>
                </a:lnTo>
                <a:lnTo>
                  <a:pt x="116550" y="33167"/>
                </a:lnTo>
                <a:lnTo>
                  <a:pt x="121609" y="27928"/>
                </a:lnTo>
                <a:lnTo>
                  <a:pt x="126857" y="22026"/>
                </a:lnTo>
                <a:lnTo>
                  <a:pt x="135402" y="27061"/>
                </a:lnTo>
                <a:lnTo>
                  <a:pt x="139674" y="30880"/>
                </a:lnTo>
                <a:lnTo>
                  <a:pt x="139674" y="35668"/>
                </a:lnTo>
                <a:lnTo>
                  <a:pt x="138430" y="36462"/>
                </a:lnTo>
                <a:lnTo>
                  <a:pt x="131513" y="36462"/>
                </a:lnTo>
                <a:lnTo>
                  <a:pt x="126653" y="40396"/>
                </a:lnTo>
                <a:lnTo>
                  <a:pt x="123618" y="42267"/>
                </a:lnTo>
                <a:close/>
              </a:path>
              <a:path w="297814" h="144145">
                <a:moveTo>
                  <a:pt x="137475" y="73520"/>
                </a:moveTo>
                <a:lnTo>
                  <a:pt x="118297" y="63768"/>
                </a:lnTo>
                <a:lnTo>
                  <a:pt x="101211" y="52121"/>
                </a:lnTo>
                <a:lnTo>
                  <a:pt x="86219" y="38579"/>
                </a:lnTo>
                <a:lnTo>
                  <a:pt x="73319" y="23142"/>
                </a:lnTo>
                <a:lnTo>
                  <a:pt x="84856" y="23142"/>
                </a:lnTo>
                <a:lnTo>
                  <a:pt x="85981" y="24406"/>
                </a:lnTo>
                <a:lnTo>
                  <a:pt x="89647" y="28277"/>
                </a:lnTo>
                <a:lnTo>
                  <a:pt x="104851" y="28277"/>
                </a:lnTo>
                <a:lnTo>
                  <a:pt x="102500" y="29998"/>
                </a:lnTo>
                <a:lnTo>
                  <a:pt x="95547" y="34043"/>
                </a:lnTo>
                <a:lnTo>
                  <a:pt x="99282" y="36775"/>
                </a:lnTo>
                <a:lnTo>
                  <a:pt x="102903" y="39517"/>
                </a:lnTo>
                <a:lnTo>
                  <a:pt x="106411" y="42267"/>
                </a:lnTo>
                <a:lnTo>
                  <a:pt x="123618" y="42267"/>
                </a:lnTo>
                <a:lnTo>
                  <a:pt x="120642" y="44101"/>
                </a:lnTo>
                <a:lnTo>
                  <a:pt x="113481" y="47579"/>
                </a:lnTo>
                <a:lnTo>
                  <a:pt x="120362" y="51259"/>
                </a:lnTo>
                <a:lnTo>
                  <a:pt x="128200" y="54952"/>
                </a:lnTo>
                <a:lnTo>
                  <a:pt x="136993" y="58658"/>
                </a:lnTo>
                <a:lnTo>
                  <a:pt x="146744" y="62377"/>
                </a:lnTo>
                <a:lnTo>
                  <a:pt x="143709" y="65507"/>
                </a:lnTo>
                <a:lnTo>
                  <a:pt x="140591" y="69260"/>
                </a:lnTo>
                <a:lnTo>
                  <a:pt x="137475" y="73520"/>
                </a:lnTo>
                <a:close/>
              </a:path>
              <a:path w="297814" h="144145">
                <a:moveTo>
                  <a:pt x="137963" y="36760"/>
                </a:moveTo>
                <a:lnTo>
                  <a:pt x="133671" y="36760"/>
                </a:lnTo>
                <a:lnTo>
                  <a:pt x="132663" y="36661"/>
                </a:lnTo>
                <a:lnTo>
                  <a:pt x="131513" y="36462"/>
                </a:lnTo>
                <a:lnTo>
                  <a:pt x="138430" y="36462"/>
                </a:lnTo>
                <a:lnTo>
                  <a:pt x="137963" y="36760"/>
                </a:lnTo>
                <a:close/>
              </a:path>
              <a:path w="297814" h="144145">
                <a:moveTo>
                  <a:pt x="103524" y="54396"/>
                </a:moveTo>
                <a:lnTo>
                  <a:pt x="88870" y="54396"/>
                </a:lnTo>
                <a:lnTo>
                  <a:pt x="95673" y="49634"/>
                </a:lnTo>
                <a:lnTo>
                  <a:pt x="99984" y="51938"/>
                </a:lnTo>
                <a:lnTo>
                  <a:pt x="103524" y="54396"/>
                </a:lnTo>
                <a:close/>
              </a:path>
              <a:path w="297814" h="144145">
                <a:moveTo>
                  <a:pt x="104895" y="64219"/>
                </a:moveTo>
                <a:lnTo>
                  <a:pt x="38310" y="64219"/>
                </a:lnTo>
                <a:lnTo>
                  <a:pt x="37116" y="59233"/>
                </a:lnTo>
                <a:lnTo>
                  <a:pt x="107691" y="59233"/>
                </a:lnTo>
                <a:lnTo>
                  <a:pt x="104895" y="64219"/>
                </a:lnTo>
                <a:close/>
              </a:path>
              <a:path w="297814" h="144145">
                <a:moveTo>
                  <a:pt x="60572" y="85948"/>
                </a:moveTo>
                <a:lnTo>
                  <a:pt x="47927" y="85948"/>
                </a:lnTo>
                <a:lnTo>
                  <a:pt x="47996" y="64219"/>
                </a:lnTo>
                <a:lnTo>
                  <a:pt x="60647" y="64219"/>
                </a:lnTo>
                <a:lnTo>
                  <a:pt x="60572" y="85948"/>
                </a:lnTo>
                <a:close/>
              </a:path>
              <a:path w="297814" h="144145">
                <a:moveTo>
                  <a:pt x="92942" y="85948"/>
                </a:moveTo>
                <a:lnTo>
                  <a:pt x="80441" y="85948"/>
                </a:lnTo>
                <a:lnTo>
                  <a:pt x="80441" y="64219"/>
                </a:lnTo>
                <a:lnTo>
                  <a:pt x="92942" y="64219"/>
                </a:lnTo>
                <a:lnTo>
                  <a:pt x="92942" y="85948"/>
                </a:lnTo>
                <a:close/>
              </a:path>
              <a:path w="297814" h="144145">
                <a:moveTo>
                  <a:pt x="137394" y="96217"/>
                </a:moveTo>
                <a:lnTo>
                  <a:pt x="7053" y="96217"/>
                </a:lnTo>
                <a:lnTo>
                  <a:pt x="4539" y="85948"/>
                </a:lnTo>
                <a:lnTo>
                  <a:pt x="119532" y="85948"/>
                </a:lnTo>
                <a:lnTo>
                  <a:pt x="127710" y="77985"/>
                </a:lnTo>
                <a:lnTo>
                  <a:pt x="132763" y="81626"/>
                </a:lnTo>
                <a:lnTo>
                  <a:pt x="137123" y="85591"/>
                </a:lnTo>
                <a:lnTo>
                  <a:pt x="140791" y="89881"/>
                </a:lnTo>
                <a:lnTo>
                  <a:pt x="137394" y="96217"/>
                </a:lnTo>
                <a:close/>
              </a:path>
              <a:path w="297814" h="144145">
                <a:moveTo>
                  <a:pt x="7169" y="143916"/>
                </a:moveTo>
                <a:lnTo>
                  <a:pt x="2902" y="135748"/>
                </a:lnTo>
                <a:lnTo>
                  <a:pt x="13323" y="132147"/>
                </a:lnTo>
                <a:lnTo>
                  <a:pt x="22219" y="128080"/>
                </a:lnTo>
                <a:lnTo>
                  <a:pt x="47029" y="96217"/>
                </a:lnTo>
                <a:lnTo>
                  <a:pt x="59669" y="96217"/>
                </a:lnTo>
                <a:lnTo>
                  <a:pt x="35148" y="132920"/>
                </a:lnTo>
                <a:lnTo>
                  <a:pt x="22504" y="139086"/>
                </a:lnTo>
                <a:lnTo>
                  <a:pt x="7169" y="143916"/>
                </a:lnTo>
                <a:close/>
              </a:path>
              <a:path w="297814" h="144145">
                <a:moveTo>
                  <a:pt x="108644" y="140195"/>
                </a:moveTo>
                <a:lnTo>
                  <a:pt x="97891" y="140195"/>
                </a:lnTo>
                <a:lnTo>
                  <a:pt x="91839" y="139873"/>
                </a:lnTo>
                <a:lnTo>
                  <a:pt x="90487" y="139228"/>
                </a:lnTo>
                <a:lnTo>
                  <a:pt x="85159" y="138158"/>
                </a:lnTo>
                <a:lnTo>
                  <a:pt x="82025" y="135916"/>
                </a:lnTo>
                <a:lnTo>
                  <a:pt x="80655" y="131006"/>
                </a:lnTo>
                <a:lnTo>
                  <a:pt x="80441" y="129031"/>
                </a:lnTo>
                <a:lnTo>
                  <a:pt x="80441" y="96217"/>
                </a:lnTo>
                <a:lnTo>
                  <a:pt x="92942" y="96217"/>
                </a:lnTo>
                <a:lnTo>
                  <a:pt x="93011" y="127843"/>
                </a:lnTo>
                <a:lnTo>
                  <a:pt x="95611" y="128239"/>
                </a:lnTo>
                <a:lnTo>
                  <a:pt x="99954" y="128438"/>
                </a:lnTo>
                <a:lnTo>
                  <a:pt x="142022" y="128438"/>
                </a:lnTo>
                <a:lnTo>
                  <a:pt x="141926" y="133108"/>
                </a:lnTo>
                <a:lnTo>
                  <a:pt x="118772" y="140079"/>
                </a:lnTo>
                <a:lnTo>
                  <a:pt x="108644" y="140195"/>
                </a:lnTo>
                <a:close/>
              </a:path>
              <a:path w="297814" h="144145">
                <a:moveTo>
                  <a:pt x="142022" y="128438"/>
                </a:moveTo>
                <a:lnTo>
                  <a:pt x="114394" y="128438"/>
                </a:lnTo>
                <a:lnTo>
                  <a:pt x="119466" y="128080"/>
                </a:lnTo>
                <a:lnTo>
                  <a:pt x="122591" y="126845"/>
                </a:lnTo>
                <a:lnTo>
                  <a:pt x="123611" y="125360"/>
                </a:lnTo>
                <a:lnTo>
                  <a:pt x="125732" y="117977"/>
                </a:lnTo>
                <a:lnTo>
                  <a:pt x="126707" y="111660"/>
                </a:lnTo>
                <a:lnTo>
                  <a:pt x="127239" y="103956"/>
                </a:lnTo>
                <a:lnTo>
                  <a:pt x="135954" y="107212"/>
                </a:lnTo>
                <a:lnTo>
                  <a:pt x="135805" y="110742"/>
                </a:lnTo>
                <a:lnTo>
                  <a:pt x="135730" y="120927"/>
                </a:lnTo>
                <a:lnTo>
                  <a:pt x="136145" y="124070"/>
                </a:lnTo>
                <a:lnTo>
                  <a:pt x="137527" y="126347"/>
                </a:lnTo>
                <a:lnTo>
                  <a:pt x="138451" y="126801"/>
                </a:lnTo>
                <a:lnTo>
                  <a:pt x="142056" y="126801"/>
                </a:lnTo>
                <a:lnTo>
                  <a:pt x="142022" y="128438"/>
                </a:lnTo>
                <a:close/>
              </a:path>
              <a:path w="297814" h="144145">
                <a:moveTo>
                  <a:pt x="281787" y="92496"/>
                </a:moveTo>
                <a:lnTo>
                  <a:pt x="267817" y="92496"/>
                </a:lnTo>
                <a:lnTo>
                  <a:pt x="273940" y="86989"/>
                </a:lnTo>
                <a:lnTo>
                  <a:pt x="281664" y="92377"/>
                </a:lnTo>
                <a:close/>
              </a:path>
              <a:path w="297814" h="144145">
                <a:moveTo>
                  <a:pt x="218479" y="143395"/>
                </a:moveTo>
                <a:lnTo>
                  <a:pt x="205977" y="143395"/>
                </a:lnTo>
                <a:lnTo>
                  <a:pt x="205977" y="88998"/>
                </a:lnTo>
                <a:lnTo>
                  <a:pt x="210622" y="90158"/>
                </a:lnTo>
                <a:lnTo>
                  <a:pt x="214454" y="91324"/>
                </a:lnTo>
                <a:lnTo>
                  <a:pt x="217474" y="92496"/>
                </a:lnTo>
                <a:lnTo>
                  <a:pt x="281787" y="92496"/>
                </a:lnTo>
                <a:lnTo>
                  <a:pt x="285526" y="96122"/>
                </a:lnTo>
                <a:lnTo>
                  <a:pt x="285526" y="99556"/>
                </a:lnTo>
                <a:lnTo>
                  <a:pt x="284760" y="100778"/>
                </a:lnTo>
                <a:lnTo>
                  <a:pt x="282041" y="102765"/>
                </a:lnTo>
                <a:lnTo>
                  <a:pt x="218479" y="102765"/>
                </a:lnTo>
                <a:lnTo>
                  <a:pt x="218479" y="125164"/>
                </a:lnTo>
                <a:lnTo>
                  <a:pt x="280540" y="125164"/>
                </a:lnTo>
                <a:lnTo>
                  <a:pt x="280540" y="135284"/>
                </a:lnTo>
                <a:lnTo>
                  <a:pt x="218479" y="135284"/>
                </a:lnTo>
                <a:lnTo>
                  <a:pt x="218479" y="143395"/>
                </a:lnTo>
                <a:close/>
              </a:path>
              <a:path w="297814" h="144145">
                <a:moveTo>
                  <a:pt x="280540" y="125164"/>
                </a:moveTo>
                <a:lnTo>
                  <a:pt x="268038" y="125164"/>
                </a:lnTo>
                <a:lnTo>
                  <a:pt x="268038" y="102765"/>
                </a:lnTo>
                <a:lnTo>
                  <a:pt x="282041" y="102765"/>
                </a:lnTo>
                <a:lnTo>
                  <a:pt x="280540" y="103863"/>
                </a:lnTo>
                <a:lnTo>
                  <a:pt x="280540" y="125164"/>
                </a:lnTo>
                <a:close/>
              </a:path>
              <a:path w="297814" h="144145">
                <a:moveTo>
                  <a:pt x="280540" y="143395"/>
                </a:moveTo>
                <a:lnTo>
                  <a:pt x="268038" y="143395"/>
                </a:lnTo>
                <a:lnTo>
                  <a:pt x="268038" y="135284"/>
                </a:lnTo>
                <a:lnTo>
                  <a:pt x="280540" y="135284"/>
                </a:lnTo>
                <a:lnTo>
                  <a:pt x="280540" y="143395"/>
                </a:lnTo>
                <a:close/>
              </a:path>
              <a:path w="297814" h="144145">
                <a:moveTo>
                  <a:pt x="157399" y="88626"/>
                </a:moveTo>
                <a:lnTo>
                  <a:pt x="151134" y="83449"/>
                </a:lnTo>
                <a:lnTo>
                  <a:pt x="161603" y="66055"/>
                </a:lnTo>
                <a:lnTo>
                  <a:pt x="170820" y="46349"/>
                </a:lnTo>
                <a:lnTo>
                  <a:pt x="178786" y="24330"/>
                </a:lnTo>
                <a:lnTo>
                  <a:pt x="185502" y="0"/>
                </a:lnTo>
                <a:lnTo>
                  <a:pt x="196920" y="2240"/>
                </a:lnTo>
                <a:lnTo>
                  <a:pt x="202628" y="4919"/>
                </a:lnTo>
                <a:lnTo>
                  <a:pt x="202628" y="10279"/>
                </a:lnTo>
                <a:lnTo>
                  <a:pt x="200339" y="11868"/>
                </a:lnTo>
                <a:lnTo>
                  <a:pt x="195761" y="12805"/>
                </a:lnTo>
                <a:lnTo>
                  <a:pt x="192832" y="22069"/>
                </a:lnTo>
                <a:lnTo>
                  <a:pt x="189750" y="30599"/>
                </a:lnTo>
                <a:lnTo>
                  <a:pt x="186517" y="38392"/>
                </a:lnTo>
                <a:lnTo>
                  <a:pt x="183132" y="45450"/>
                </a:lnTo>
                <a:lnTo>
                  <a:pt x="188540" y="46456"/>
                </a:lnTo>
                <a:lnTo>
                  <a:pt x="191243" y="48149"/>
                </a:lnTo>
                <a:lnTo>
                  <a:pt x="191243" y="52537"/>
                </a:lnTo>
                <a:lnTo>
                  <a:pt x="189259" y="54311"/>
                </a:lnTo>
                <a:lnTo>
                  <a:pt x="185290" y="55849"/>
                </a:lnTo>
                <a:lnTo>
                  <a:pt x="185290" y="62582"/>
                </a:lnTo>
                <a:lnTo>
                  <a:pt x="172789" y="62582"/>
                </a:lnTo>
                <a:lnTo>
                  <a:pt x="169980" y="69196"/>
                </a:lnTo>
                <a:lnTo>
                  <a:pt x="166478" y="75741"/>
                </a:lnTo>
                <a:lnTo>
                  <a:pt x="162285" y="82218"/>
                </a:lnTo>
                <a:lnTo>
                  <a:pt x="157399" y="88626"/>
                </a:lnTo>
                <a:close/>
              </a:path>
              <a:path w="297814" h="144145">
                <a:moveTo>
                  <a:pt x="277094" y="21356"/>
                </a:moveTo>
                <a:lnTo>
                  <a:pt x="211517" y="21356"/>
                </a:lnTo>
                <a:lnTo>
                  <a:pt x="209326" y="11236"/>
                </a:lnTo>
                <a:lnTo>
                  <a:pt x="259146" y="11236"/>
                </a:lnTo>
                <a:lnTo>
                  <a:pt x="266914" y="3497"/>
                </a:lnTo>
                <a:lnTo>
                  <a:pt x="271399" y="6494"/>
                </a:lnTo>
                <a:lnTo>
                  <a:pt x="275749" y="10279"/>
                </a:lnTo>
                <a:lnTo>
                  <a:pt x="279870" y="14749"/>
                </a:lnTo>
                <a:lnTo>
                  <a:pt x="277094" y="21356"/>
                </a:lnTo>
                <a:close/>
              </a:path>
              <a:path w="297814" h="144145">
                <a:moveTo>
                  <a:pt x="294703" y="41522"/>
                </a:moveTo>
                <a:lnTo>
                  <a:pt x="194373" y="41522"/>
                </a:lnTo>
                <a:lnTo>
                  <a:pt x="192285" y="31402"/>
                </a:lnTo>
                <a:lnTo>
                  <a:pt x="275738" y="31402"/>
                </a:lnTo>
                <a:lnTo>
                  <a:pt x="284130" y="22993"/>
                </a:lnTo>
                <a:lnTo>
                  <a:pt x="289381" y="26823"/>
                </a:lnTo>
                <a:lnTo>
                  <a:pt x="293865" y="30859"/>
                </a:lnTo>
                <a:lnTo>
                  <a:pt x="297581" y="35102"/>
                </a:lnTo>
                <a:lnTo>
                  <a:pt x="294703" y="41522"/>
                </a:lnTo>
                <a:close/>
              </a:path>
              <a:path w="297814" h="144145">
                <a:moveTo>
                  <a:pt x="279905" y="61614"/>
                </a:moveTo>
                <a:lnTo>
                  <a:pt x="208616" y="61614"/>
                </a:lnTo>
                <a:lnTo>
                  <a:pt x="206424" y="51494"/>
                </a:lnTo>
                <a:lnTo>
                  <a:pt x="262368" y="51494"/>
                </a:lnTo>
                <a:lnTo>
                  <a:pt x="270288" y="44350"/>
                </a:lnTo>
                <a:lnTo>
                  <a:pt x="274836" y="47394"/>
                </a:lnTo>
                <a:lnTo>
                  <a:pt x="279097" y="51066"/>
                </a:lnTo>
                <a:lnTo>
                  <a:pt x="283070" y="55367"/>
                </a:lnTo>
                <a:lnTo>
                  <a:pt x="279905" y="61614"/>
                </a:lnTo>
                <a:close/>
              </a:path>
              <a:path w="297814" h="144145">
                <a:moveTo>
                  <a:pt x="185290" y="143321"/>
                </a:moveTo>
                <a:lnTo>
                  <a:pt x="172789" y="143321"/>
                </a:lnTo>
                <a:lnTo>
                  <a:pt x="172789" y="62582"/>
                </a:lnTo>
                <a:lnTo>
                  <a:pt x="185290" y="62582"/>
                </a:lnTo>
                <a:lnTo>
                  <a:pt x="185290" y="143321"/>
                </a:lnTo>
                <a:close/>
              </a:path>
              <a:path w="297814" h="144145">
                <a:moveTo>
                  <a:pt x="279746" y="81706"/>
                </a:moveTo>
                <a:lnTo>
                  <a:pt x="208258" y="81706"/>
                </a:lnTo>
                <a:lnTo>
                  <a:pt x="206424" y="71437"/>
                </a:lnTo>
                <a:lnTo>
                  <a:pt x="262532" y="71437"/>
                </a:lnTo>
                <a:lnTo>
                  <a:pt x="270454" y="64144"/>
                </a:lnTo>
                <a:lnTo>
                  <a:pt x="274468" y="66811"/>
                </a:lnTo>
                <a:lnTo>
                  <a:pt x="278673" y="70597"/>
                </a:lnTo>
                <a:lnTo>
                  <a:pt x="283070" y="75503"/>
                </a:lnTo>
                <a:lnTo>
                  <a:pt x="279746" y="8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連絡先からかける</a:t>
            </a:r>
          </a:p>
        </p:txBody>
      </p:sp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541790" y="3462930"/>
            <a:ext cx="678661" cy="13214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9408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からかける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698320" y="5833224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2" y="1964942"/>
            <a:ext cx="270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相手を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40987" y="1964942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連絡先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44476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56456" y="1970700"/>
            <a:ext cx="2520000" cy="32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発信</a:t>
            </a:r>
            <a:r>
              <a:rPr lang="ja-JP" altLang="en-US" sz="1600" b="1" spc="-7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6" name="正方形/長方形 75"/>
          <p:cNvSpPr>
            <a:spLocks noChangeAspect="1"/>
          </p:cNvSpPr>
          <p:nvPr/>
        </p:nvSpPr>
        <p:spPr>
          <a:xfrm>
            <a:off x="6884930" y="3907226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0" name="図形グループ 69"/>
          <p:cNvGrpSpPr/>
          <p:nvPr/>
        </p:nvGrpSpPr>
        <p:grpSpPr>
          <a:xfrm>
            <a:off x="6726067" y="3752535"/>
            <a:ext cx="296586" cy="293005"/>
            <a:chOff x="4232441" y="3995693"/>
            <a:chExt cx="296586" cy="293005"/>
          </a:xfrm>
        </p:grpSpPr>
        <p:sp>
          <p:nvSpPr>
            <p:cNvPr id="71" name="円/楕円 70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2" name="フリーフォーム 71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2" name="図形グループ 81"/>
          <p:cNvGrpSpPr/>
          <p:nvPr/>
        </p:nvGrpSpPr>
        <p:grpSpPr>
          <a:xfrm>
            <a:off x="1539358" y="5646259"/>
            <a:ext cx="296587" cy="293005"/>
            <a:chOff x="2897417" y="3995693"/>
            <a:chExt cx="296587" cy="293005"/>
          </a:xfrm>
        </p:grpSpPr>
        <p:sp>
          <p:nvSpPr>
            <p:cNvPr id="83" name="円/楕円 82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4" name="テキスト ボックス 8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20CBCAF9-8608-2BB0-D285-8D6455574483}"/>
              </a:ext>
            </a:extLst>
          </p:cNvPr>
          <p:cNvGrpSpPr/>
          <p:nvPr/>
        </p:nvGrpSpPr>
        <p:grpSpPr>
          <a:xfrm>
            <a:off x="6380826" y="2710691"/>
            <a:ext cx="1921812" cy="3420000"/>
            <a:chOff x="6380826" y="2710691"/>
            <a:chExt cx="1921812" cy="3420000"/>
          </a:xfrm>
        </p:grpSpPr>
        <p:pic>
          <p:nvPicPr>
            <p:cNvPr id="53" name="図 52" descr="選択した人の連絡先画面の画像">
              <a:extLst>
                <a:ext uri="{FF2B5EF4-FFF2-40B4-BE49-F238E27FC236}">
                  <a16:creationId xmlns:a16="http://schemas.microsoft.com/office/drawing/2014/main" id="{44DF9ABC-E6E1-4E1C-8FD7-9C78BF072DA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380826" y="2710691"/>
              <a:ext cx="1921812" cy="3420000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7" name="図 16">
              <a:extLst>
                <a:ext uri="{FF2B5EF4-FFF2-40B4-BE49-F238E27FC236}">
                  <a16:creationId xmlns:a16="http://schemas.microsoft.com/office/drawing/2014/main" id="{618FC82D-02DD-82B1-1D66-89BB4F67E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 flipV="1">
              <a:off x="6516216" y="2723440"/>
              <a:ext cx="274128" cy="95131"/>
            </a:xfrm>
            <a:prstGeom prst="rect">
              <a:avLst/>
            </a:prstGeom>
          </p:spPr>
        </p:pic>
        <p:pic>
          <p:nvPicPr>
            <p:cNvPr id="19" name="図 18">
              <a:extLst>
                <a:ext uri="{FF2B5EF4-FFF2-40B4-BE49-F238E27FC236}">
                  <a16:creationId xmlns:a16="http://schemas.microsoft.com/office/drawing/2014/main" id="{CD5E63E9-8662-6B55-A04D-B0077DE6E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04248" y="2723440"/>
              <a:ext cx="78333" cy="73725"/>
            </a:xfrm>
            <a:prstGeom prst="rect">
              <a:avLst/>
            </a:prstGeom>
          </p:spPr>
        </p:pic>
      </p:grpSp>
      <p:sp>
        <p:nvSpPr>
          <p:cNvPr id="22" name="矢印: 右 21">
            <a:extLst>
              <a:ext uri="{FF2B5EF4-FFF2-40B4-BE49-F238E27FC236}">
                <a16:creationId xmlns:a16="http://schemas.microsoft.com/office/drawing/2014/main" id="{54B7C418-30B9-B05C-640F-849D8D01E5F1}"/>
              </a:ext>
            </a:extLst>
          </p:cNvPr>
          <p:cNvSpPr/>
          <p:nvPr/>
        </p:nvSpPr>
        <p:spPr>
          <a:xfrm>
            <a:off x="3059832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3" name="矢印: 右 22">
            <a:extLst>
              <a:ext uri="{FF2B5EF4-FFF2-40B4-BE49-F238E27FC236}">
                <a16:creationId xmlns:a16="http://schemas.microsoft.com/office/drawing/2014/main" id="{7E427513-CE81-68EA-BCA4-9711F6EE41D9}"/>
              </a:ext>
            </a:extLst>
          </p:cNvPr>
          <p:cNvSpPr/>
          <p:nvPr/>
        </p:nvSpPr>
        <p:spPr>
          <a:xfrm>
            <a:off x="5727590" y="3936231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0039BA6-7D42-6509-9F2F-80F69B3FB79A}"/>
              </a:ext>
            </a:extLst>
          </p:cNvPr>
          <p:cNvSpPr>
            <a:spLocks noChangeAspect="1"/>
          </p:cNvSpPr>
          <p:nvPr/>
        </p:nvSpPr>
        <p:spPr>
          <a:xfrm>
            <a:off x="6872280" y="3947396"/>
            <a:ext cx="444650" cy="35772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67853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 descr="コンピューターのスクリーンショット&#10;&#10;自動的に生成された説明">
            <a:extLst>
              <a:ext uri="{FF2B5EF4-FFF2-40B4-BE49-F238E27FC236}">
                <a16:creationId xmlns:a16="http://schemas.microsoft.com/office/drawing/2014/main" id="{768D8B7F-E528-D063-8259-6CB4BE8359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7147" y="2733625"/>
            <a:ext cx="1911946" cy="3419335"/>
          </a:xfrm>
          <a:prstGeom prst="rect">
            <a:avLst/>
          </a:prstGeom>
        </p:spPr>
      </p:pic>
      <p:pic>
        <p:nvPicPr>
          <p:cNvPr id="15" name="図 14" descr="コンピューターのスクリーンショット&#10;&#10;自動的に生成された説明">
            <a:extLst>
              <a:ext uri="{FF2B5EF4-FFF2-40B4-BE49-F238E27FC236}">
                <a16:creationId xmlns:a16="http://schemas.microsoft.com/office/drawing/2014/main" id="{D7523FEB-7242-BC37-0EFA-A4E7D36467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7178" y="2718115"/>
            <a:ext cx="1911946" cy="3419335"/>
          </a:xfrm>
          <a:prstGeom prst="rect">
            <a:avLst/>
          </a:prstGeom>
        </p:spPr>
      </p:pic>
      <p:pic>
        <p:nvPicPr>
          <p:cNvPr id="9" name="図 8" descr="携帯電話の画面のスクリーンショット&#10;&#10;自動的に生成された説明">
            <a:extLst>
              <a:ext uri="{FF2B5EF4-FFF2-40B4-BE49-F238E27FC236}">
                <a16:creationId xmlns:a16="http://schemas.microsoft.com/office/drawing/2014/main" id="{18F26449-9832-A01E-F42E-53026FC598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5217" y="2718211"/>
            <a:ext cx="1911946" cy="34193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en-US" altLang="ja-JP" kern="0" dirty="0"/>
            </a:br>
            <a:r>
              <a:rPr kumimoji="0" lang="ja-JP" altLang="en-US" kern="0" dirty="0"/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D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2449312" y="2824149"/>
            <a:ext cx="432000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7" name="正方形/長方形 76"/>
          <p:cNvSpPr>
            <a:spLocks noChangeAspect="1"/>
          </p:cNvSpPr>
          <p:nvPr/>
        </p:nvSpPr>
        <p:spPr>
          <a:xfrm>
            <a:off x="7483104" y="4757070"/>
            <a:ext cx="540000" cy="540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34653" y="1402980"/>
            <a:ext cx="27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中にかかって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きたら画面下部の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受話器マークを右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ライドして受電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1" name="テキスト ボックス 6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402980"/>
            <a:ext cx="2340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ホ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緑色の受話器マークを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と受電でき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3295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1395" y="1400673"/>
            <a:ext cx="2520000" cy="157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られ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ッセージを送信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ショートメール送付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に出たくない時は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源ボタンを２回押す</a:t>
            </a: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208159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51AE08B2-1F63-490C-968E-5D6E6C2D47F9}"/>
              </a:ext>
            </a:extLst>
          </p:cNvPr>
          <p:cNvSpPr txBox="1"/>
          <p:nvPr/>
        </p:nvSpPr>
        <p:spPr>
          <a:xfrm>
            <a:off x="8272983" y="3995755"/>
            <a:ext cx="369332" cy="194400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源ボタ</a:t>
            </a:r>
            <a:r>
              <a:rPr kumimoji="1" lang="ja-JP" altLang="en-US" sz="1200" b="1" spc="-7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回押す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endParaRPr kumimoji="1" lang="ja-JP" altLang="en-US" sz="1200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99" name="矢印: 左 26">
            <a:extLst>
              <a:ext uri="{FF2B5EF4-FFF2-40B4-BE49-F238E27FC236}">
                <a16:creationId xmlns:a16="http://schemas.microsoft.com/office/drawing/2014/main" id="{2D694F48-698F-4B34-8CE2-2582F3EB8E87}"/>
              </a:ext>
            </a:extLst>
          </p:cNvPr>
          <p:cNvSpPr/>
          <p:nvPr/>
        </p:nvSpPr>
        <p:spPr>
          <a:xfrm>
            <a:off x="8282880" y="3377952"/>
            <a:ext cx="244411" cy="228600"/>
          </a:xfrm>
          <a:prstGeom prst="lef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40"/>
          <p:cNvGrpSpPr/>
          <p:nvPr/>
        </p:nvGrpSpPr>
        <p:grpSpPr>
          <a:xfrm>
            <a:off x="8307862" y="3660790"/>
            <a:ext cx="296586" cy="293005"/>
            <a:chOff x="5101121" y="3995693"/>
            <a:chExt cx="296586" cy="293005"/>
          </a:xfrm>
        </p:grpSpPr>
        <p:sp>
          <p:nvSpPr>
            <p:cNvPr id="42" name="円/楕円 41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フリーフォーム 42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331282" y="4599804"/>
            <a:ext cx="296586" cy="293005"/>
            <a:chOff x="423244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6" name="フリーフォーム 45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0" name="図形グループ 49"/>
          <p:cNvGrpSpPr/>
          <p:nvPr/>
        </p:nvGrpSpPr>
        <p:grpSpPr>
          <a:xfrm>
            <a:off x="2299276" y="2668444"/>
            <a:ext cx="296587" cy="293005"/>
            <a:chOff x="2897417" y="3995693"/>
            <a:chExt cx="296587" cy="293005"/>
          </a:xfrm>
        </p:grpSpPr>
        <p:sp>
          <p:nvSpPr>
            <p:cNvPr id="51" name="円/楕円 50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テキスト ボックス 5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8" name="図形グループ 5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616825" y="5315988"/>
            <a:ext cx="492443" cy="461665"/>
            <a:chOff x="7516281" y="2673548"/>
            <a:chExt cx="492443" cy="461665"/>
          </a:xfrm>
        </p:grpSpPr>
        <p:sp>
          <p:nvSpPr>
            <p:cNvPr id="60" name="円/楕円 5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96" name="上矢印 95"/>
          <p:cNvSpPr>
            <a:spLocks noChangeAspect="1"/>
          </p:cNvSpPr>
          <p:nvPr/>
        </p:nvSpPr>
        <p:spPr>
          <a:xfrm rot="5400000">
            <a:off x="4511099" y="4930061"/>
            <a:ext cx="540000" cy="1138278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97" name="図 96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960" y="5517232"/>
            <a:ext cx="473301" cy="540000"/>
          </a:xfrm>
          <a:prstGeom prst="rect">
            <a:avLst/>
          </a:prstGeom>
        </p:spPr>
      </p:pic>
      <p:grpSp>
        <p:nvGrpSpPr>
          <p:cNvPr id="47" name="図形グループ 46"/>
          <p:cNvGrpSpPr/>
          <p:nvPr/>
        </p:nvGrpSpPr>
        <p:grpSpPr>
          <a:xfrm>
            <a:off x="4203406" y="5944307"/>
            <a:ext cx="296586" cy="293005"/>
            <a:chOff x="3546641" y="3995693"/>
            <a:chExt cx="296586" cy="293005"/>
          </a:xfrm>
        </p:grpSpPr>
        <p:sp>
          <p:nvSpPr>
            <p:cNvPr id="48" name="円/楕円 47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フリーフォーム 48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12" name="図 11">
            <a:extLst>
              <a:ext uri="{FF2B5EF4-FFF2-40B4-BE49-F238E27FC236}">
                <a16:creationId xmlns:a16="http://schemas.microsoft.com/office/drawing/2014/main" id="{1E5BB16D-0663-81D4-D90F-B7D87BF1894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61049" y="2729091"/>
            <a:ext cx="277948" cy="88707"/>
          </a:xfrm>
          <a:prstGeom prst="rect">
            <a:avLst/>
          </a:prstGeom>
        </p:spPr>
      </p:pic>
      <p:sp>
        <p:nvSpPr>
          <p:cNvPr id="17" name="矢印: 右 16">
            <a:extLst>
              <a:ext uri="{FF2B5EF4-FFF2-40B4-BE49-F238E27FC236}">
                <a16:creationId xmlns:a16="http://schemas.microsoft.com/office/drawing/2014/main" id="{93CFC911-FA4A-4652-45A9-6B253846F6A4}"/>
              </a:ext>
            </a:extLst>
          </p:cNvPr>
          <p:cNvSpPr/>
          <p:nvPr/>
        </p:nvSpPr>
        <p:spPr>
          <a:xfrm>
            <a:off x="2987824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35DBA925-4AAB-178C-FF3D-88CC4773969D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1" name="図 20">
            <a:extLst>
              <a:ext uri="{FF2B5EF4-FFF2-40B4-BE49-F238E27FC236}">
                <a16:creationId xmlns:a16="http://schemas.microsoft.com/office/drawing/2014/main" id="{C44A5287-C742-616E-533E-FA6C18C4FA5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18585" y="2733625"/>
            <a:ext cx="252000" cy="9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901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図 22" descr="ダイアグラム が含まれている画像&#10;&#10;自動的に生成された説明">
            <a:extLst>
              <a:ext uri="{FF2B5EF4-FFF2-40B4-BE49-F238E27FC236}">
                <a16:creationId xmlns:a16="http://schemas.microsoft.com/office/drawing/2014/main" id="{32BC1B5E-EA79-7B1B-F6A9-04CAB4F671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714" y="2885162"/>
            <a:ext cx="2108682" cy="3261392"/>
          </a:xfrm>
          <a:prstGeom prst="rect">
            <a:avLst/>
          </a:prstGeom>
        </p:spPr>
      </p:pic>
      <p:pic>
        <p:nvPicPr>
          <p:cNvPr id="14" name="図 13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FCC95F4B-01A3-CFF6-FFB1-5BDC233C57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3499" y="2715316"/>
            <a:ext cx="1875924" cy="3455357"/>
          </a:xfrm>
          <a:prstGeom prst="rect">
            <a:avLst/>
          </a:prstGeom>
        </p:spPr>
      </p:pic>
      <p:pic>
        <p:nvPicPr>
          <p:cNvPr id="11" name="図 1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B1D1555-093A-5228-DCDD-E35BCE7943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568" y="2898697"/>
            <a:ext cx="1832906" cy="3231955"/>
          </a:xfrm>
          <a:prstGeom prst="rect">
            <a:avLst/>
          </a:prstGeom>
        </p:spPr>
      </p:pic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4D9F750D-15F9-BFF9-03CC-E63A5523C008}"/>
              </a:ext>
            </a:extLst>
          </p:cNvPr>
          <p:cNvGrpSpPr/>
          <p:nvPr/>
        </p:nvGrpSpPr>
        <p:grpSpPr>
          <a:xfrm>
            <a:off x="1255867" y="5659994"/>
            <a:ext cx="113672" cy="276999"/>
            <a:chOff x="-3607734" y="4257413"/>
            <a:chExt cx="113672" cy="276999"/>
          </a:xfrm>
        </p:grpSpPr>
        <p:sp>
          <p:nvSpPr>
            <p:cNvPr id="108" name="楕円 28">
              <a:extLst>
                <a:ext uri="{FF2B5EF4-FFF2-40B4-BE49-F238E27FC236}">
                  <a16:creationId xmlns:a16="http://schemas.microsoft.com/office/drawing/2014/main" id="{136E43F2-889F-4D37-86DF-C429648768F7}"/>
                </a:ext>
              </a:extLst>
            </p:cNvPr>
            <p:cNvSpPr/>
            <p:nvPr/>
          </p:nvSpPr>
          <p:spPr>
            <a:xfrm>
              <a:off x="-3607734" y="4316996"/>
              <a:ext cx="113672" cy="127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9" name="正方形/長方形 108">
              <a:extLst>
                <a:ext uri="{FF2B5EF4-FFF2-40B4-BE49-F238E27FC236}">
                  <a16:creationId xmlns:a16="http://schemas.microsoft.com/office/drawing/2014/main" id="{7E7E2EB1-45A6-441E-A86C-B538466D1EE8}"/>
                </a:ext>
              </a:extLst>
            </p:cNvPr>
            <p:cNvSpPr/>
            <p:nvPr/>
          </p:nvSpPr>
          <p:spPr>
            <a:xfrm flipH="1">
              <a:off x="-3597193" y="4257413"/>
              <a:ext cx="9259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1200" dirty="0">
                  <a:solidFill>
                    <a:srgbClr val="FF0000"/>
                  </a:solidFill>
                  <a:latin typeface="Arial" panose="020B0604020202020204" pitchFamily="34" charset="0"/>
                  <a:ea typeface="Meiryo" charset="-128"/>
                  <a:cs typeface="Arial" panose="020B0604020202020204" pitchFamily="34" charset="0"/>
                </a:rPr>
                <a:t>❶</a:t>
              </a:r>
              <a:endParaRPr lang="en-US" altLang="ja-JP" sz="1200" dirty="0">
                <a:solidFill>
                  <a:srgbClr val="FF0000"/>
                </a:solidFill>
                <a:latin typeface="Arial" panose="020B0604020202020204" pitchFamily="34" charset="0"/>
                <a:ea typeface="Meiryo" charset="-128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197719"/>
            <a:ext cx="6442789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dirty="0">
                <a:latin typeface="Meiryo"/>
                <a:ea typeface="Meiryo"/>
              </a:rPr>
              <a:t>電話のかけ方</a:t>
            </a:r>
            <a:br>
              <a:rPr lang="en-US" altLang="ja-JP" spc="-150" dirty="0">
                <a:latin typeface="Meiryo"/>
                <a:ea typeface="Meiryo"/>
              </a:rPr>
            </a:br>
            <a:r>
              <a:rPr lang="ja-JP" altLang="en-US" spc="-150" dirty="0">
                <a:latin typeface="Meiryo"/>
                <a:ea typeface="Meiryo"/>
              </a:rPr>
              <a:t>不在着信があった場合のかけ直し方</a:t>
            </a:r>
            <a:endParaRPr kumimoji="0" lang="ja-JP" altLang="en-US" kern="0" spc="-150" dirty="0">
              <a:latin typeface="Meiryo"/>
              <a:ea typeface="Meiryo"/>
            </a:endParaRP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E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946921" y="5692800"/>
            <a:ext cx="474299" cy="432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47967" y="1939064"/>
            <a:ext cx="16000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履</a:t>
            </a:r>
            <a:r>
              <a:rPr lang="ja-JP" altLang="en-US" sz="1600" b="1" kern="100" spc="-75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歴　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5880" y="1863938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8359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55243" y="1939064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在着信がある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アイコンに赤い丸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付くので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85802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かけたい電話番号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86563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00794" y="227458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81" name="図形グループ 80"/>
          <p:cNvGrpSpPr/>
          <p:nvPr/>
        </p:nvGrpSpPr>
        <p:grpSpPr>
          <a:xfrm>
            <a:off x="691447" y="5441980"/>
            <a:ext cx="296587" cy="293005"/>
            <a:chOff x="2897417" y="3995693"/>
            <a:chExt cx="296587" cy="293005"/>
          </a:xfrm>
        </p:grpSpPr>
        <p:sp>
          <p:nvSpPr>
            <p:cNvPr id="82" name="円/楕円 8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3" name="テキスト ボックス 8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12" name="図 11">
            <a:extLst>
              <a:ext uri="{FF2B5EF4-FFF2-40B4-BE49-F238E27FC236}">
                <a16:creationId xmlns:a16="http://schemas.microsoft.com/office/drawing/2014/main" id="{CF1B0287-73C8-E008-936E-F2AB21A6C76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6691" y="2898699"/>
            <a:ext cx="180288" cy="94674"/>
          </a:xfrm>
          <a:prstGeom prst="rect">
            <a:avLst/>
          </a:prstGeom>
        </p:spPr>
      </p:pic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AF1D4CAA-7C00-FE95-2E10-5EA3139EA98F}"/>
              </a:ext>
            </a:extLst>
          </p:cNvPr>
          <p:cNvSpPr txBox="1"/>
          <p:nvPr/>
        </p:nvSpPr>
        <p:spPr>
          <a:xfrm>
            <a:off x="3547967" y="2369924"/>
            <a:ext cx="1946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不在着信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4" name="矢印: 右 43">
            <a:extLst>
              <a:ext uri="{FF2B5EF4-FFF2-40B4-BE49-F238E27FC236}">
                <a16:creationId xmlns:a16="http://schemas.microsoft.com/office/drawing/2014/main" id="{EA212F19-D406-9DF7-9FEA-EFFF20AC61B7}"/>
              </a:ext>
            </a:extLst>
          </p:cNvPr>
          <p:cNvSpPr/>
          <p:nvPr/>
        </p:nvSpPr>
        <p:spPr>
          <a:xfrm>
            <a:off x="2771800" y="391931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5" name="矢印: 右 44">
            <a:extLst>
              <a:ext uri="{FF2B5EF4-FFF2-40B4-BE49-F238E27FC236}">
                <a16:creationId xmlns:a16="http://schemas.microsoft.com/office/drawing/2014/main" id="{722AA3E8-56BF-E37B-06D2-732EA5392A02}"/>
              </a:ext>
            </a:extLst>
          </p:cNvPr>
          <p:cNvSpPr/>
          <p:nvPr/>
        </p:nvSpPr>
        <p:spPr>
          <a:xfrm>
            <a:off x="5692460" y="3933056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212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7957EF6CB915E4F9E841DC62B5F05BF" ma:contentTypeVersion="8" ma:contentTypeDescription="新しいドキュメントを作成します。" ma:contentTypeScope="" ma:versionID="9fdb9252e7859daa48f339e1cd5970ba">
  <xsd:schema xmlns:xsd="http://www.w3.org/2001/XMLSchema" xmlns:xs="http://www.w3.org/2001/XMLSchema" xmlns:p="http://schemas.microsoft.com/office/2006/metadata/properties" xmlns:ns2="aa866a95-882d-4e3b-bad5-7bdcce3ea4d3" targetNamespace="http://schemas.microsoft.com/office/2006/metadata/properties" ma:root="true" ma:fieldsID="5e5aa0bf48fcd17f35ddee803c7b826e" ns2:_="">
    <xsd:import namespace="aa866a95-882d-4e3b-bad5-7bdcce3ea4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866a95-882d-4e3b-bad5-7bdcce3ea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metadata/properties"/>
    <ds:schemaRef ds:uri="079a4871-f4a2-4665-9954-203da50962a5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2c894bec-798d-4cf3-95d8-8ea6401a7b86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6F6EF5-928E-47CB-9E04-BEDB3537FB4F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81</Words>
  <Application>Microsoft Office PowerPoint</Application>
  <PresentationFormat>画面に合わせる (4:3)</PresentationFormat>
  <Paragraphs>326</Paragraphs>
  <Slides>21</Slides>
  <Notes>2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1</vt:i4>
      </vt:variant>
    </vt:vector>
  </HeadingPairs>
  <TitlesOfParts>
    <vt:vector size="31" baseType="lpstr">
      <vt:lpstr>BIZ UDゴシック</vt:lpstr>
      <vt:lpstr>Meiryo UI</vt:lpstr>
      <vt:lpstr>メイリオ</vt:lpstr>
      <vt:lpstr>メイリオ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連絡先からかける</vt:lpstr>
      <vt:lpstr>電話のかけ方 電話の受け方</vt:lpstr>
      <vt:lpstr>電話のかけ方 不在着信があった場合のかけ直し方</vt:lpstr>
      <vt:lpstr>電話のかけ方 新しく連絡先を登録する</vt:lpstr>
      <vt:lpstr>電話のかけ方 着信履歴に残った通話先を登録する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さまざまな操作機能</vt:lpstr>
      <vt:lpstr>カメラの使い方 撮った写真を見る</vt:lpstr>
      <vt:lpstr>カメラの使い方 写真の削除</vt:lpstr>
      <vt:lpstr>カメラの使い方 QRコードの読み取り</vt:lpstr>
      <vt:lpstr>カメラの使い方 QRコードの読み取り</vt:lpstr>
      <vt:lpstr>カメラの使い方 QR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293</cp:revision>
  <dcterms:created xsi:type="dcterms:W3CDTF">2021-08-16T09:05:36Z</dcterms:created>
  <dcterms:modified xsi:type="dcterms:W3CDTF">2024-10-22T05:59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957EF6CB915E4F9E841DC62B5F05BF</vt:lpwstr>
  </property>
  <property fmtid="{D5CDD505-2E9C-101B-9397-08002B2CF9AE}" pid="3" name="MediaServiceImageTags">
    <vt:lpwstr/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bool>false</vt:bool>
  </property>
  <property fmtid="{D5CDD505-2E9C-101B-9397-08002B2CF9AE}" pid="10" name="Order">
    <vt:r8>30200</vt:r8>
  </property>
  <property fmtid="{D5CDD505-2E9C-101B-9397-08002B2CF9AE}" pid="11" name="_SourceUrl">
    <vt:lpwstr/>
  </property>
  <property fmtid="{D5CDD505-2E9C-101B-9397-08002B2CF9AE}" pid="12" name="_SharedFileIndex">
    <vt:lpwstr/>
  </property>
</Properties>
</file>